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2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92.xml" ContentType="application/vnd.openxmlformats-officedocument.presentationml.tags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  <p:sldId id="258" r:id="rId3"/>
    <p:sldId id="261" r:id="rId4"/>
    <p:sldId id="274" r:id="rId5"/>
    <p:sldId id="279" r:id="rId6"/>
    <p:sldId id="266" r:id="rId7"/>
    <p:sldId id="265" r:id="rId8"/>
    <p:sldId id="270" r:id="rId9"/>
    <p:sldId id="286" r:id="rId10"/>
    <p:sldId id="283" r:id="rId11"/>
    <p:sldId id="275" r:id="rId12"/>
    <p:sldId id="267" r:id="rId13"/>
    <p:sldId id="272" r:id="rId14"/>
    <p:sldId id="285" r:id="rId15"/>
    <p:sldId id="284" r:id="rId16"/>
    <p:sldId id="268" r:id="rId17"/>
    <p:sldId id="273" r:id="rId18"/>
  </p:sldIdLst>
  <p:sldSz cx="12192000" cy="6858000"/>
  <p:notesSz cx="6858000" cy="9144000"/>
  <p:custDataLst>
    <p:tags r:id="rId19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  <a:srgbClr val="000000"/>
    <a:srgbClr val="009DE0"/>
    <a:srgbClr val="A5A5A5"/>
    <a:srgbClr val="44546A"/>
    <a:srgbClr val="FFFFFF"/>
    <a:srgbClr val="7924DD"/>
    <a:srgbClr val="D2D2D2"/>
    <a:srgbClr val="E1E1DB"/>
    <a:srgbClr val="7F9A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76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https://atkearney-my.sharepoint.com/personal/gmorae01_atkearney_com/Documents/Documents/Personal/POLI/PNV3512%20-%202/pnv3512/outputs/RandomicCWS/20230704-204532/ObjectiveFunctionValues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https://atkearney-my.sharepoint.com/personal/gmorae01_atkearney_com/Documents/Documents/Personal/POLI/PNV3512%20-%202/pnv3512/results/multi_starts/ObjectiveFunctionValu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579847217169874E-3"/>
          <c:y val="2.3266219239373602E-2"/>
          <c:w val="0.98108403055656601"/>
          <c:h val="0.9534675615212527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C77"/>
              </a:solidFill>
              <a:prstDash val="solid"/>
            </a:ln>
          </c:spPr>
          <c:marker>
            <c:symbol val="none"/>
          </c:marker>
          <c:val>
            <c:numRef>
              <c:f>Sheet1!$A$1:$I$1</c:f>
              <c:numCache>
                <c:formatCode>General</c:formatCode>
                <c:ptCount val="9"/>
                <c:pt idx="0">
                  <c:v>20</c:v>
                </c:pt>
                <c:pt idx="1">
                  <c:v>380</c:v>
                </c:pt>
                <c:pt idx="2">
                  <c:v>6636</c:v>
                </c:pt>
                <c:pt idx="3">
                  <c:v>84840</c:v>
                </c:pt>
                <c:pt idx="4">
                  <c:v>624600</c:v>
                </c:pt>
                <c:pt idx="5">
                  <c:v>2354400</c:v>
                </c:pt>
                <c:pt idx="6">
                  <c:v>3545631.3573407196</c:v>
                </c:pt>
                <c:pt idx="7">
                  <c:v>1612800</c:v>
                </c:pt>
                <c:pt idx="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F1-4120-8275-645FFE02484A}"/>
            </c:ext>
          </c:extLst>
        </c:ser>
        <c:ser>
          <c:idx val="1"/>
          <c:order val="1"/>
          <c:spPr>
            <a:ln w="19050" cmpd="sng" algn="ctr">
              <a:solidFill>
                <a:srgbClr val="009DE0"/>
              </a:solidFill>
              <a:prstDash val="solid"/>
            </a:ln>
          </c:spPr>
          <c:marker>
            <c:symbol val="none"/>
          </c:marker>
          <c:dLbls>
            <c:dLbl>
              <c:idx val="6"/>
              <c:layout>
                <c:manualLayout>
                  <c:x val="0"/>
                  <c:y val="-4.02684563758389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CF1-4120-8275-645FFE0248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20</c:v>
                </c:pt>
                <c:pt idx="1">
                  <c:v>190</c:v>
                </c:pt>
                <c:pt idx="2">
                  <c:v>3318</c:v>
                </c:pt>
                <c:pt idx="3">
                  <c:v>42420</c:v>
                </c:pt>
                <c:pt idx="4">
                  <c:v>312300</c:v>
                </c:pt>
                <c:pt idx="5">
                  <c:v>1177200</c:v>
                </c:pt>
                <c:pt idx="6">
                  <c:v>1925280</c:v>
                </c:pt>
                <c:pt idx="7">
                  <c:v>806400</c:v>
                </c:pt>
                <c:pt idx="8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CF1-4120-8275-645FFE0248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2590479"/>
        <c:axId val="1"/>
      </c:lineChart>
      <c:catAx>
        <c:axId val="825904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95071.357340719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82590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870967741935479E-3"/>
          <c:y val="1.8518518518518517E-2"/>
          <c:w val="0.98322580645161295"/>
          <c:h val="0.962962962962962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C77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5.30626780626780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9C2-4D92-901C-FBDAB6C6E19B}"/>
                </c:ext>
              </c:extLst>
            </c:dLbl>
            <c:dLbl>
              <c:idx val="14"/>
              <c:layout>
                <c:manualLayout>
                  <c:x val="0"/>
                  <c:y val="-6.94444444444444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9C2-4D92-901C-FBDAB6C6E19B}"/>
                </c:ext>
              </c:extLst>
            </c:dLbl>
            <c:dLbl>
              <c:idx val="17"/>
              <c:layout>
                <c:manualLayout>
                  <c:x val="0"/>
                  <c:y val="-0.168447293447293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9C2-4D92-901C-FBDAB6C6E19B}"/>
                </c:ext>
              </c:extLst>
            </c:dLbl>
            <c:dLbl>
              <c:idx val="18"/>
              <c:layout>
                <c:manualLayout>
                  <c:x val="0"/>
                  <c:y val="-0.183404558404558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9C2-4D92-901C-FBDAB6C6E1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3.5861902236938401</c:v>
                </c:pt>
                <c:pt idx="1">
                  <c:v>2.9117298126220699</c:v>
                </c:pt>
                <c:pt idx="2">
                  <c:v>3.3821160793304399</c:v>
                </c:pt>
                <c:pt idx="3">
                  <c:v>3.4610893726348801</c:v>
                </c:pt>
                <c:pt idx="4">
                  <c:v>3.3801307678222599</c:v>
                </c:pt>
                <c:pt idx="5">
                  <c:v>3.2971785068511901</c:v>
                </c:pt>
                <c:pt idx="6">
                  <c:v>3.5817899703979399</c:v>
                </c:pt>
                <c:pt idx="7">
                  <c:v>3.2812814712524401</c:v>
                </c:pt>
                <c:pt idx="8">
                  <c:v>3.3779637813568102</c:v>
                </c:pt>
                <c:pt idx="9">
                  <c:v>3.65572953224182</c:v>
                </c:pt>
                <c:pt idx="10">
                  <c:v>3.4232032299041699</c:v>
                </c:pt>
                <c:pt idx="11">
                  <c:v>3.6707739830017001</c:v>
                </c:pt>
                <c:pt idx="12">
                  <c:v>3.6443891525268501</c:v>
                </c:pt>
                <c:pt idx="13">
                  <c:v>3.5703268051147399</c:v>
                </c:pt>
                <c:pt idx="14">
                  <c:v>4.5647528171539298</c:v>
                </c:pt>
                <c:pt idx="15">
                  <c:v>4.3209915161132804</c:v>
                </c:pt>
                <c:pt idx="16">
                  <c:v>9.2236621379852295</c:v>
                </c:pt>
                <c:pt idx="17">
                  <c:v>14.8421895503997</c:v>
                </c:pt>
                <c:pt idx="18">
                  <c:v>16.412967920303299</c:v>
                </c:pt>
                <c:pt idx="19">
                  <c:v>48.921729564666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C2-4D92-901C-FBDAB6C6E1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0552847"/>
        <c:axId val="1"/>
      </c:barChart>
      <c:catAx>
        <c:axId val="510552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 w="3175" cmpd="sng" algn="ctr">
              <a:solidFill>
                <a:srgbClr val="DADADA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0552847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340514246004169E-3"/>
          <c:y val="2.7310924369747899E-2"/>
          <c:w val="0.9819318971507992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C77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E37-497F-9807-A9E988CFBB37}"/>
              </c:ext>
            </c:extLst>
          </c:dPt>
          <c:dLbls>
            <c:dLbl>
              <c:idx val="0"/>
              <c:layout>
                <c:manualLayout>
                  <c:x val="0"/>
                  <c:y val="-7.8781512605042014E-2"/>
                </c:manualLayout>
              </c:layout>
              <c:numFmt formatCode="#,##0.0&quot; s&quot;;&quot;-&quot;#,##0.0&quot; s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E37-497F-9807-A9E988CFBB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.7699999999999996</c:v>
                </c:pt>
                <c:pt idx="1">
                  <c:v>53.886950453593897</c:v>
                </c:pt>
                <c:pt idx="2">
                  <c:v>15.756950453593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37-497F-9807-A9E988CFBB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8354079"/>
        <c:axId val="1"/>
      </c:barChart>
      <c:catAx>
        <c:axId val="318354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.8869504535938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8354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Sheet1!$B$2:$B$1001</cx:f>
        <cx:lvl ptCount="1000" formatCode="Geral">
          <cx:pt idx="0">998.87179687941875</cx:pt>
          <cx:pt idx="1">1082.1472343250839</cx:pt>
          <cx:pt idx="2">1059.001858248607</cx:pt>
          <cx:pt idx="3">1000.693514344233</cx:pt>
          <cx:pt idx="4">1061.3210468260061</cx:pt>
          <cx:pt idx="5">1000.693514344233</cx:pt>
          <cx:pt idx="6">1003.1744103044369</cx:pt>
          <cx:pt idx="7">982.48362606930823</cx:pt>
          <cx:pt idx="8">1121.437278342388</cx:pt>
          <cx:pt idx="9">998.87179687941875</cx:pt>
          <cx:pt idx="10">1128.79893279269</cx:pt>
          <cx:pt idx="11">982.48362606930823</cx:pt>
          <cx:pt idx="12">982.48362606930823</cx:pt>
          <cx:pt idx="13">982.48362606930823</cx:pt>
          <cx:pt idx="14">998.87179687941875</cx:pt>
          <cx:pt idx="15">998.87179687941875</cx:pt>
          <cx:pt idx="16">983.17428446052361</cx:pt>
          <cx:pt idx="17">1000.693514344233</cx:pt>
          <cx:pt idx="18">1079.6477980211359</cx:pt>
          <cx:pt idx="19">1078.388101719738</cx:pt>
          <cx:pt idx="20">1000.693514344233</cx:pt>
          <cx:pt idx="21">1004.709152842157</cx:pt>
          <cx:pt idx="22">982.48362606930823</cx:pt>
          <cx:pt idx="23">983.50722410326239</cx:pt>
          <cx:pt idx="24">1004.709152842157</cx:pt>
          <cx:pt idx="25">1000.693514344233</cx:pt>
          <cx:pt idx="26">983.50722410326239</cx:pt>
          <cx:pt idx="27">1061.3210468260061</cx:pt>
          <cx:pt idx="28">982.48362606930823</cx:pt>
          <cx:pt idx="29">1061.3210468260061</cx:pt>
          <cx:pt idx="30">983.17428446052361</cx:pt>
          <cx:pt idx="31">998.87179687941875</cx:pt>
          <cx:pt idx="32">1121.437278342388</cx:pt>
          <cx:pt idx="33">1061.3210468260061</cx:pt>
          <cx:pt idx="34">983.50722410326239</cx:pt>
          <cx:pt idx="35">1121.437278342388</cx:pt>
          <cx:pt idx="36">989.8961570732173</cx:pt>
          <cx:pt idx="37">1000.693514344233</cx:pt>
          <cx:pt idx="38">982.48362606930823</cx:pt>
          <cx:pt idx="39">1061.3210468260061</cx:pt>
          <cx:pt idx="40">997.07255691010835</cx:pt>
          <cx:pt idx="41">1004.709152842157</cx:pt>
          <cx:pt idx="42">1000.693514344233</cx:pt>
          <cx:pt idx="43">982.48362606930823</cx:pt>
          <cx:pt idx="44">1061.3210468260061</cx:pt>
          <cx:pt idx="45">1009.1623369712451</cx:pt>
          <cx:pt idx="46">1078.388101719738</cx:pt>
          <cx:pt idx="47">1035.1684718611691</cx:pt>
          <cx:pt idx="48">998.87179687941875</cx:pt>
          <cx:pt idx="49">1000.693514344233</cx:pt>
          <cx:pt idx="50">982.48362606930823</cx:pt>
          <cx:pt idx="51">1004.709152842157</cx:pt>
          <cx:pt idx="52">1009.1623369712451</cx:pt>
          <cx:pt idx="53">1003.424727775017</cx:pt>
          <cx:pt idx="54">1128.5134582128769</cx:pt>
          <cx:pt idx="55">998.87179687941875</cx:pt>
          <cx:pt idx="56">1003.424727775017</cx:pt>
          <cx:pt idx="57">982.48362606930823</cx:pt>
          <cx:pt idx="58">1061.3210468260061</cx:pt>
          <cx:pt idx="59">1004.709152842157</cx:pt>
          <cx:pt idx="60">1061.3210468260061</cx:pt>
          <cx:pt idx="61">998.87179687941875</cx:pt>
          <cx:pt idx="62">998.87179687941875</cx:pt>
          <cx:pt idx="63">1080.206254399867</cx:pt>
          <cx:pt idx="64">998.87179687941875</cx:pt>
          <cx:pt idx="65">998.87179687941875</cx:pt>
          <cx:pt idx="66">1003.424727775017</cx:pt>
          <cx:pt idx="67">989.8961570732173</cx:pt>
          <cx:pt idx="68">982.48362606930823</cx:pt>
          <cx:pt idx="69">982.48362606930823</cx:pt>
          <cx:pt idx="70">1004.709152842157</cx:pt>
          <cx:pt idx="71">997.07255691010835</cx:pt>
          <cx:pt idx="72">1061.3210468260061</cx:pt>
          <cx:pt idx="73">1128.79893279269</cx:pt>
          <cx:pt idx="74">1003.1744103044369</cx:pt>
          <cx:pt idx="75">1056.735380474408</cx:pt>
          <cx:pt idx="76">998.87179687941875</cx:pt>
          <cx:pt idx="77">989.8961570732173</cx:pt>
          <cx:pt idx="78">998.87179687941875</cx:pt>
          <cx:pt idx="79">1061.3210468260061</cx:pt>
          <cx:pt idx="80">998.87179687941875</cx:pt>
          <cx:pt idx="81">982.48362606930823</cx:pt>
          <cx:pt idx="82">998.87179687941875</cx:pt>
          <cx:pt idx="83">998.87179687941875</cx:pt>
          <cx:pt idx="84">1056.735380474408</cx:pt>
          <cx:pt idx="85">1003.424727775017</cx:pt>
          <cx:pt idx="86">997.07255691010835</cx:pt>
          <cx:pt idx="87">1078.388101719738</cx:pt>
          <cx:pt idx="88">983.17428446052361</cx:pt>
          <cx:pt idx="89">983.50722410326239</cx:pt>
          <cx:pt idx="90">1128.79893279269</cx:pt>
          <cx:pt idx="91">1004.709152842157</cx:pt>
          <cx:pt idx="92">1078.388101719738</cx:pt>
          <cx:pt idx="93">1128.5134582128769</cx:pt>
          <cx:pt idx="94">1004.709152842157</cx:pt>
          <cx:pt idx="95">998.87179687941875</cx:pt>
          <cx:pt idx="96">1005.773342161303</cx:pt>
          <cx:pt idx="97">1008.522780721916</cx:pt>
          <cx:pt idx="98">1061.3210468260061</cx:pt>
          <cx:pt idx="99">1000.693514344233</cx:pt>
          <cx:pt idx="100">998.87179687941875</cx:pt>
          <cx:pt idx="101">1061.3210468260061</cx:pt>
          <cx:pt idx="102">990.34433455376086</cx:pt>
          <cx:pt idx="103">989.8961570732173</cx:pt>
          <cx:pt idx="104">1056.735380474408</cx:pt>
          <cx:pt idx="105">982.48362606930823</cx:pt>
          <cx:pt idx="106">982.48362606930823</cx:pt>
          <cx:pt idx="107">989.8961570732173</cx:pt>
          <cx:pt idx="108">982.48362606930823</cx:pt>
          <cx:pt idx="109">1000.693514344233</cx:pt>
          <cx:pt idx="110">1061.3210468260061</cx:pt>
          <cx:pt idx="111">998.87179687941875</cx:pt>
          <cx:pt idx="112">1000.693514344233</cx:pt>
          <cx:pt idx="113">989.8961570732173</cx:pt>
          <cx:pt idx="114">1004.709152842157</cx:pt>
          <cx:pt idx="115">989.8961570732173</cx:pt>
          <cx:pt idx="116">998.87179687941875</cx:pt>
          <cx:pt idx="117">997.07255691010835</cx:pt>
          <cx:pt idx="118">983.50722410326239</cx:pt>
          <cx:pt idx="119">989.8961570732173</cx:pt>
          <cx:pt idx="120">982.48362606930823</cx:pt>
          <cx:pt idx="121">997.07255691010835</cx:pt>
          <cx:pt idx="122">989.8961570732173</cx:pt>
          <cx:pt idx="123">982.48362606930823</cx:pt>
          <cx:pt idx="124">1056.735380474408</cx:pt>
          <cx:pt idx="125">982.48362606930823</cx:pt>
          <cx:pt idx="126">998.87179687941875</cx:pt>
          <cx:pt idx="127">997.07255691010835</cx:pt>
          <cx:pt idx="128">1035.1684718611691</cx:pt>
          <cx:pt idx="129">1004.709152842157</cx:pt>
          <cx:pt idx="130">1003.424727775017</cx:pt>
          <cx:pt idx="131">998.87179687941875</cx:pt>
          <cx:pt idx="132">1124.38074027213</cx:pt>
          <cx:pt idx="133">982.48362606930823</cx:pt>
          <cx:pt idx="134">982.48362606930823</cx:pt>
          <cx:pt idx="135">983.50722410326239</cx:pt>
          <cx:pt idx="136">1124.38074027213</cx:pt>
          <cx:pt idx="137">989.8961570732173</cx:pt>
          <cx:pt idx="138">998.87179687941875</cx:pt>
          <cx:pt idx="139">1056.735380474408</cx:pt>
          <cx:pt idx="140">1111.2034032001791</cx:pt>
          <cx:pt idx="141">989.8961570732173</cx:pt>
          <cx:pt idx="142">998.87179687941875</cx:pt>
          <cx:pt idx="143">989.8961570732173</cx:pt>
          <cx:pt idx="144">1004.709152842157</cx:pt>
          <cx:pt idx="145">982.48362606930823</cx:pt>
          <cx:pt idx="146">989.8961570732173</cx:pt>
          <cx:pt idx="147">1008.522780721916</cx:pt>
          <cx:pt idx="148">1061.3210468260061</cx:pt>
          <cx:pt idx="149">989.8961570732173</cx:pt>
          <cx:pt idx="150">989.8961570732173</cx:pt>
          <cx:pt idx="151">1032.630473460129</cx:pt>
          <cx:pt idx="152">1032.630473460129</cx:pt>
          <cx:pt idx="153">982.48362606930823</cx:pt>
          <cx:pt idx="154">1003.1744103044369</cx:pt>
          <cx:pt idx="155">998.87179687941875</cx:pt>
          <cx:pt idx="156">1056.6464758021491</cx:pt>
          <cx:pt idx="157">982.48362606930823</cx:pt>
          <cx:pt idx="158">983.17428446052361</cx:pt>
          <cx:pt idx="159">1000.693514344233</cx:pt>
          <cx:pt idx="160">1061.3210468260061</cx:pt>
          <cx:pt idx="161">983.17428446052361</cx:pt>
          <cx:pt idx="162">1000.693514344233</cx:pt>
          <cx:pt idx="163">1035.1684718611691</cx:pt>
          <cx:pt idx="164">1035.1684718611691</cx:pt>
          <cx:pt idx="165">998.87179687941875</cx:pt>
          <cx:pt idx="166">998.87179687941875</cx:pt>
          <cx:pt idx="167">982.48362606930823</cx:pt>
          <cx:pt idx="168">1144.4349894340351</cx:pt>
          <cx:pt idx="169">998.87179687941875</cx:pt>
          <cx:pt idx="170">1009.1623369712451</cx:pt>
          <cx:pt idx="171">1080.206254399867</cx:pt>
          <cx:pt idx="172">1004.709152842157</cx:pt>
          <cx:pt idx="173">1000.693514344233</cx:pt>
          <cx:pt idx="174">1009.1623369712451</cx:pt>
          <cx:pt idx="175">989.8961570732173</cx:pt>
          <cx:pt idx="176">1032.630473460129</cx:pt>
          <cx:pt idx="177">982.48362606930823</cx:pt>
          <cx:pt idx="178">983.50722410326239</cx:pt>
          <cx:pt idx="179">982.48362606930823</cx:pt>
          <cx:pt idx="180">1004.709152842157</cx:pt>
          <cx:pt idx="181">1056.735380474408</cx:pt>
          <cx:pt idx="182">1056.6464758021491</cx:pt>
          <cx:pt idx="183">998.87179687941875</cx:pt>
          <cx:pt idx="184">982.48362606930823</cx:pt>
          <cx:pt idx="185">1000.693514344233</cx:pt>
          <cx:pt idx="186">1082.1472343250839</cx:pt>
          <cx:pt idx="187">1004.709152842157</cx:pt>
          <cx:pt idx="188">1061.3210468260061</cx:pt>
          <cx:pt idx="189">982.48362606930823</cx:pt>
          <cx:pt idx="190">1061.3210468260061</cx:pt>
          <cx:pt idx="191">1061.3210468260061</cx:pt>
          <cx:pt idx="192">1078.388101719738</cx:pt>
          <cx:pt idx="193">1058.713865703711</cx:pt>
          <cx:pt idx="194">1078.388101719738</cx:pt>
          <cx:pt idx="195">982.48362606930823</cx:pt>
          <cx:pt idx="196">983.50722410326239</cx:pt>
          <cx:pt idx="197">1004.709152842157</cx:pt>
          <cx:pt idx="198">1080.206254399867</cx:pt>
          <cx:pt idx="199">1128.79893279269</cx:pt>
          <cx:pt idx="200">1061.3210468260061</cx:pt>
          <cx:pt idx="201">998.87179687941875</cx:pt>
          <cx:pt idx="202">1079.6477980211359</cx:pt>
          <cx:pt idx="203">982.48362606930823</cx:pt>
          <cx:pt idx="204">1056.6464758021491</cx:pt>
          <cx:pt idx="205">998.87179687941875</cx:pt>
          <cx:pt idx="206">1056.735380474408</cx:pt>
          <cx:pt idx="207">1061.3210468260061</cx:pt>
          <cx:pt idx="208">1121.437278342388</cx:pt>
          <cx:pt idx="209">998.87179687941875</cx:pt>
          <cx:pt idx="210">1061.3210468260061</cx:pt>
          <cx:pt idx="211">1144.4349894340351</cx:pt>
          <cx:pt idx="212">997.07255691010835</cx:pt>
          <cx:pt idx="213">1003.424727775017</cx:pt>
          <cx:pt idx="214">1061.3210468260061</cx:pt>
          <cx:pt idx="215">989.8961570732173</cx:pt>
          <cx:pt idx="216">1078.388101719738</cx:pt>
          <cx:pt idx="217">983.50722410326239</cx:pt>
          <cx:pt idx="218">1000.693514344233</cx:pt>
          <cx:pt idx="219">1008.522780721916</cx:pt>
          <cx:pt idx="220">982.48362606930823</cx:pt>
          <cx:pt idx="221">1004.709152842157</cx:pt>
          <cx:pt idx="222">1056.735380474408</cx:pt>
          <cx:pt idx="223">1032.630473460129</cx:pt>
          <cx:pt idx="224">1128.79893279269</cx:pt>
          <cx:pt idx="225">989.8961570732173</cx:pt>
          <cx:pt idx="226">983.17428446052361</cx:pt>
          <cx:pt idx="227">982.48362606930823</cx:pt>
          <cx:pt idx="228">998.87179687941875</cx:pt>
          <cx:pt idx="229">982.48362606930823</cx:pt>
          <cx:pt idx="230">1003.1744103044369</cx:pt>
          <cx:pt idx="231">1004.709152842157</cx:pt>
          <cx:pt idx="232">989.8961570732173</cx:pt>
          <cx:pt idx="233">997.07255691010835</cx:pt>
          <cx:pt idx="234">982.48362606930823</cx:pt>
          <cx:pt idx="235">982.48362606930823</cx:pt>
          <cx:pt idx="236">1061.3210468260061</cx:pt>
          <cx:pt idx="237">1079.6477980211359</cx:pt>
          <cx:pt idx="238">998.87179687941875</cx:pt>
          <cx:pt idx="239">1004.709152842157</cx:pt>
          <cx:pt idx="240">997.07255691010835</cx:pt>
          <cx:pt idx="241">982.48362606930823</cx:pt>
          <cx:pt idx="242">1035.1684718611691</cx:pt>
          <cx:pt idx="243">982.48362606930823</cx:pt>
          <cx:pt idx="244">1004.709152842157</cx:pt>
          <cx:pt idx="245">1035.1684718611691</cx:pt>
          <cx:pt idx="246">1061.3210468260061</cx:pt>
          <cx:pt idx="247">989.8961570732173</cx:pt>
          <cx:pt idx="248">989.8961570732173</cx:pt>
          <cx:pt idx="249">1056.735380474408</cx:pt>
          <cx:pt idx="250">1000.693514344233</cx:pt>
          <cx:pt idx="251">1061.3210468260061</cx:pt>
          <cx:pt idx="252">983.50722410326239</cx:pt>
          <cx:pt idx="253">982.48362606930823</cx:pt>
          <cx:pt idx="254">1061.3210468260061</cx:pt>
          <cx:pt idx="255">1000.693514344233</cx:pt>
          <cx:pt idx="256">1061.3210468260061</cx:pt>
          <cx:pt idx="257">1000.693514344233</cx:pt>
          <cx:pt idx="258">1004.709152842157</cx:pt>
          <cx:pt idx="259">1004.709152842157</cx:pt>
          <cx:pt idx="260">998.87179687941875</cx:pt>
          <cx:pt idx="261">982.48362606930823</cx:pt>
          <cx:pt idx="262">982.48362606930823</cx:pt>
          <cx:pt idx="263">982.48362606930823</cx:pt>
          <cx:pt idx="264">989.8961570732173</cx:pt>
          <cx:pt idx="265">982.48362606930823</cx:pt>
          <cx:pt idx="266">982.48362606930823</cx:pt>
          <cx:pt idx="267">1008.522780721916</cx:pt>
          <cx:pt idx="268">960.72759331131101</cx:pt>
          <cx:pt idx="269">982.48362606930823</cx:pt>
          <cx:pt idx="270">998.87179687941875</cx:pt>
          <cx:pt idx="271">1079.6477980211359</cx:pt>
          <cx:pt idx="272">989.8961570732173</cx:pt>
          <cx:pt idx="273">989.8961570732173</cx:pt>
          <cx:pt idx="274">982.48362606930823</cx:pt>
          <cx:pt idx="275">982.48362606930823</cx:pt>
          <cx:pt idx="276">982.48362606930823</cx:pt>
          <cx:pt idx="277">1079.6477980211359</cx:pt>
          <cx:pt idx="278">1009.1623369712451</cx:pt>
          <cx:pt idx="279">1128.5134582128769</cx:pt>
          <cx:pt idx="280">1061.3210468260061</cx:pt>
          <cx:pt idx="281">1056.735380474408</cx:pt>
          <cx:pt idx="282">1008.522780721916</cx:pt>
          <cx:pt idx="283">1056.6464758021491</cx:pt>
          <cx:pt idx="284">1078.388101719738</cx:pt>
          <cx:pt idx="285">1000.693514344233</cx:pt>
          <cx:pt idx="286">983.50722410326239</cx:pt>
          <cx:pt idx="287">1009.1623369712451</cx:pt>
          <cx:pt idx="288">1003.424727775017</cx:pt>
          <cx:pt idx="289">982.48362606930823</cx:pt>
          <cx:pt idx="290">1061.3210468260061</cx:pt>
          <cx:pt idx="291">1003.1744103044369</cx:pt>
          <cx:pt idx="292">1056.6464758021491</cx:pt>
          <cx:pt idx="293">982.48362606930823</cx:pt>
          <cx:pt idx="294">1000.693514344233</cx:pt>
          <cx:pt idx="295">982.48362606930823</cx:pt>
          <cx:pt idx="296">1000.693514344233</cx:pt>
          <cx:pt idx="297">1003.424727775017</cx:pt>
          <cx:pt idx="298">982.48362606930823</cx:pt>
          <cx:pt idx="299">983.50722410326239</cx:pt>
          <cx:pt idx="300">982.48362606930823</cx:pt>
          <cx:pt idx="301">989.8961570732173</cx:pt>
          <cx:pt idx="302">998.87179687941875</cx:pt>
          <cx:pt idx="303">997.07255691010835</cx:pt>
          <cx:pt idx="304">989.8961570732173</cx:pt>
          <cx:pt idx="305">989.8961570732173</cx:pt>
          <cx:pt idx="306">1061.3210468260061</cx:pt>
          <cx:pt idx="307">1003.424727775017</cx:pt>
          <cx:pt idx="308">1111.2034032001791</cx:pt>
          <cx:pt idx="309">1061.3210468260061</cx:pt>
          <cx:pt idx="310">989.8961570732173</cx:pt>
          <cx:pt idx="311">989.8961570732173</cx:pt>
          <cx:pt idx="312">1056.735380474408</cx:pt>
          <cx:pt idx="313">1121.437278342388</cx:pt>
          <cx:pt idx="314">1000.693514344233</cx:pt>
          <cx:pt idx="315">983.50722410326239</cx:pt>
          <cx:pt idx="316">982.48362606930823</cx:pt>
          <cx:pt idx="317">1004.709152842157</cx:pt>
          <cx:pt idx="318">982.48362606930823</cx:pt>
          <cx:pt idx="319">998.87179687941875</cx:pt>
          <cx:pt idx="320">1000.693514344233</cx:pt>
          <cx:pt idx="321">1056.6464758021491</cx:pt>
          <cx:pt idx="322">998.87179687941875</cx:pt>
          <cx:pt idx="323">1035.1684718611691</cx:pt>
          <cx:pt idx="324">998.87179687941875</cx:pt>
          <cx:pt idx="325">998.87179687941875</cx:pt>
          <cx:pt idx="326">1035.1684718611691</cx:pt>
          <cx:pt idx="327">1009.1623369712451</cx:pt>
          <cx:pt idx="328">982.48362606930823</cx:pt>
          <cx:pt idx="329">982.48362606930823</cx:pt>
          <cx:pt idx="330">1128.79893279269</cx:pt>
          <cx:pt idx="331">983.17428446052361</cx:pt>
          <cx:pt idx="332">1003.424727775017</cx:pt>
          <cx:pt idx="333">997.07255691010835</cx:pt>
          <cx:pt idx="334">982.48362606930823</cx:pt>
          <cx:pt idx="335">1004.709152842157</cx:pt>
          <cx:pt idx="336">1061.3210468260061</cx:pt>
          <cx:pt idx="337">1000.693514344233</cx:pt>
          <cx:pt idx="338">1080.206254399867</cx:pt>
          <cx:pt idx="339">982.48362606930823</cx:pt>
          <cx:pt idx="340">1078.388101719738</cx:pt>
          <cx:pt idx="341">983.50722410326239</cx:pt>
          <cx:pt idx="342">982.48362606930823</cx:pt>
          <cx:pt idx="343">982.48362606930823</cx:pt>
          <cx:pt idx="344">982.48362606930823</cx:pt>
          <cx:pt idx="345">997.07255691010835</cx:pt>
          <cx:pt idx="346">982.48362606930823</cx:pt>
          <cx:pt idx="347">1079.6477980211359</cx:pt>
          <cx:pt idx="348">1061.3210468260061</cx:pt>
          <cx:pt idx="349">998.87179687941875</cx:pt>
          <cx:pt idx="350">998.87179687941875</cx:pt>
          <cx:pt idx="351">1078.388101719738</cx:pt>
          <cx:pt idx="352">982.48362606930823</cx:pt>
          <cx:pt idx="353">998.87179687941875</cx:pt>
          <cx:pt idx="354">1061.3210468260061</cx:pt>
          <cx:pt idx="355">1061.3210468260061</cx:pt>
          <cx:pt idx="356">997.07255691010835</cx:pt>
          <cx:pt idx="357">1003.424727775017</cx:pt>
          <cx:pt idx="358">998.87179687941875</cx:pt>
          <cx:pt idx="359">1004.709152842157</cx:pt>
          <cx:pt idx="360">998.87179687941875</cx:pt>
          <cx:pt idx="361">989.8961570732173</cx:pt>
          <cx:pt idx="362">1004.709152842157</cx:pt>
          <cx:pt idx="363">1061.3210468260061</cx:pt>
          <cx:pt idx="364">998.87179687941875</cx:pt>
          <cx:pt idx="365">983.50722410326239</cx:pt>
          <cx:pt idx="366">1078.388101719738</cx:pt>
          <cx:pt idx="367">1004.709152842157</cx:pt>
          <cx:pt idx="368">1000.693514344233</cx:pt>
          <cx:pt idx="369">1032.630473460129</cx:pt>
          <cx:pt idx="370">1056.735380474408</cx:pt>
          <cx:pt idx="371">1061.3210468260061</cx:pt>
          <cx:pt idx="372">1000.693514344233</cx:pt>
          <cx:pt idx="373">1061.3210468260061</cx:pt>
          <cx:pt idx="374">982.48362606930823</cx:pt>
          <cx:pt idx="375">982.48362606930823</cx:pt>
          <cx:pt idx="376">998.87179687941875</cx:pt>
          <cx:pt idx="377">1035.1684718611691</cx:pt>
          <cx:pt idx="378">983.50722410326239</cx:pt>
          <cx:pt idx="379">989.8961570732173</cx:pt>
          <cx:pt idx="380">1061.3210468260061</cx:pt>
          <cx:pt idx="381">1004.709152842157</cx:pt>
          <cx:pt idx="382">982.48362606930823</cx:pt>
          <cx:pt idx="383">1079.6477980211359</cx:pt>
          <cx:pt idx="384">989.8961570732173</cx:pt>
          <cx:pt idx="385">1111.2034032001791</cx:pt>
          <cx:pt idx="386">1128.5134582128769</cx:pt>
          <cx:pt idx="387">1003.424727775017</cx:pt>
          <cx:pt idx="388">1078.388101719738</cx:pt>
          <cx:pt idx="389">998.87179687941875</cx:pt>
          <cx:pt idx="390">1061.3210468260061</cx:pt>
          <cx:pt idx="391">1004.709152842157</cx:pt>
          <cx:pt idx="392">1032.630473460129</cx:pt>
          <cx:pt idx="393">989.8961570732173</cx:pt>
          <cx:pt idx="394">1035.1684718611691</cx:pt>
          <cx:pt idx="395">982.48362606930823</cx:pt>
          <cx:pt idx="396">998.87179687941875</cx:pt>
          <cx:pt idx="397">1061.3210468260061</cx:pt>
          <cx:pt idx="398">989.8961570732173</cx:pt>
          <cx:pt idx="399">998.87179687941875</cx:pt>
          <cx:pt idx="400">1032.630473460129</cx:pt>
          <cx:pt idx="401">982.48362606930823</cx:pt>
          <cx:pt idx="402">1144.4349894340351</cx:pt>
          <cx:pt idx="403">1061.3210468260061</cx:pt>
          <cx:pt idx="404">1128.79893279269</cx:pt>
          <cx:pt idx="405">989.8961570732173</cx:pt>
          <cx:pt idx="406">1061.3210468260061</cx:pt>
          <cx:pt idx="407">983.17428446052361</cx:pt>
          <cx:pt idx="408">1004.709152842157</cx:pt>
          <cx:pt idx="409">1032.630473460129</cx:pt>
          <cx:pt idx="410">982.48362606930823</cx:pt>
          <cx:pt idx="411">982.48362606930823</cx:pt>
          <cx:pt idx="412">1000.693514344233</cx:pt>
          <cx:pt idx="413">1000.693514344233</cx:pt>
          <cx:pt idx="414">1061.3210468260061</cx:pt>
          <cx:pt idx="415">989.8961570732173</cx:pt>
          <cx:pt idx="416">989.8961570732173</cx:pt>
          <cx:pt idx="417">998.87179687941875</cx:pt>
          <cx:pt idx="418">997.07255691010835</cx:pt>
          <cx:pt idx="419">1003.1744103044369</cx:pt>
          <cx:pt idx="420">1008.522780721916</cx:pt>
          <cx:pt idx="421">982.48362606930823</cx:pt>
          <cx:pt idx="422">989.8961570732173</cx:pt>
          <cx:pt idx="423">997.07255691010835</cx:pt>
          <cx:pt idx="424">997.07255691010835</cx:pt>
          <cx:pt idx="425">983.17428446052361</cx:pt>
          <cx:pt idx="426">1058.713865703711</cx:pt>
          <cx:pt idx="427">1000.693514344233</cx:pt>
          <cx:pt idx="428">997.07255691010835</cx:pt>
          <cx:pt idx="429">983.50722410326239</cx:pt>
          <cx:pt idx="430">1061.3210468260061</cx:pt>
          <cx:pt idx="431">1061.3210468260061</cx:pt>
          <cx:pt idx="432">1056.735380474408</cx:pt>
          <cx:pt idx="433">983.50722410326239</cx:pt>
          <cx:pt idx="434">998.87179687941875</cx:pt>
          <cx:pt idx="435">1078.388101719738</cx:pt>
          <cx:pt idx="436">1061.3210468260061</cx:pt>
          <cx:pt idx="437">997.07255691010835</cx:pt>
          <cx:pt idx="438">1004.709152842157</cx:pt>
          <cx:pt idx="439">1061.3210468260061</cx:pt>
          <cx:pt idx="440">989.8961570732173</cx:pt>
          <cx:pt idx="441">1061.3210468260061</cx:pt>
          <cx:pt idx="442">998.87179687941875</cx:pt>
          <cx:pt idx="443">1004.709152842157</cx:pt>
          <cx:pt idx="444">1078.388101719738</cx:pt>
          <cx:pt idx="445">1128.5134582128769</cx:pt>
          <cx:pt idx="446">1000.693514344233</cx:pt>
          <cx:pt idx="447">982.48362606930823</cx:pt>
          <cx:pt idx="448">982.48362606930823</cx:pt>
          <cx:pt idx="449">997.07255691010835</cx:pt>
          <cx:pt idx="450">960.72759331131101</cx:pt>
          <cx:pt idx="451">997.07255691010835</cx:pt>
          <cx:pt idx="452">982.48362606930823</cx:pt>
          <cx:pt idx="453">998.87179687941875</cx:pt>
          <cx:pt idx="454">1056.6464758021491</cx:pt>
          <cx:pt idx="455">960.72759331131101</cx:pt>
          <cx:pt idx="456">1061.3210468260061</cx:pt>
          <cx:pt idx="457">1080.206254399867</cx:pt>
          <cx:pt idx="458">1035.1684718611691</cx:pt>
          <cx:pt idx="459">982.48362606930823</cx:pt>
          <cx:pt idx="460">1121.437278342388</cx:pt>
          <cx:pt idx="461">1004.709152842157</cx:pt>
          <cx:pt idx="462">998.87179687941875</cx:pt>
          <cx:pt idx="463">982.48362606930823</cx:pt>
          <cx:pt idx="464">982.48362606930823</cx:pt>
          <cx:pt idx="465">982.48362606930823</cx:pt>
          <cx:pt idx="466">997.07255691010835</cx:pt>
          <cx:pt idx="467">1000.693514344233</cx:pt>
          <cx:pt idx="468">997.07255691010835</cx:pt>
          <cx:pt idx="469">1035.1684718611691</cx:pt>
          <cx:pt idx="470">1121.437278342388</cx:pt>
          <cx:pt idx="471">1056.6464758021491</cx:pt>
          <cx:pt idx="472">1056.6464758021491</cx:pt>
          <cx:pt idx="473">998.87179687941875</cx:pt>
          <cx:pt idx="474">982.48362606930823</cx:pt>
          <cx:pt idx="475">1032.630473460129</cx:pt>
          <cx:pt idx="476">1008.522780721916</cx:pt>
          <cx:pt idx="477">983.50722410326239</cx:pt>
          <cx:pt idx="478">998.87179687941875</cx:pt>
          <cx:pt idx="479">989.8961570732173</cx:pt>
          <cx:pt idx="480">1000.693514344233</cx:pt>
          <cx:pt idx="481">982.48362606930823</cx:pt>
          <cx:pt idx="482">998.87179687941875</cx:pt>
          <cx:pt idx="483">1000.693514344233</cx:pt>
          <cx:pt idx="484">1061.3210468260061</cx:pt>
          <cx:pt idx="485">1000.693514344233</cx:pt>
          <cx:pt idx="486">998.87179687941875</cx:pt>
          <cx:pt idx="487">1056.735380474408</cx:pt>
          <cx:pt idx="488">1004.709152842157</cx:pt>
          <cx:pt idx="489">1080.206254399867</cx:pt>
          <cx:pt idx="490">989.8961570732173</cx:pt>
          <cx:pt idx="491">997.07255691010835</cx:pt>
          <cx:pt idx="492">1056.735380474408</cx:pt>
          <cx:pt idx="493">1061.3210468260061</cx:pt>
          <cx:pt idx="494">1061.3210468260061</cx:pt>
          <cx:pt idx="495">998.87179687941875</cx:pt>
          <cx:pt idx="496">1000.693514344233</cx:pt>
          <cx:pt idx="497">1128.79893279269</cx:pt>
          <cx:pt idx="498">1056.6464758021491</cx:pt>
          <cx:pt idx="499">1061.3210468260061</cx:pt>
          <cx:pt idx="500">1000.693514344233</cx:pt>
          <cx:pt idx="501">1128.5134582128769</cx:pt>
          <cx:pt idx="502">997.07255691010835</cx:pt>
          <cx:pt idx="503">989.8961570732173</cx:pt>
          <cx:pt idx="504">1003.424727775017</cx:pt>
          <cx:pt idx="505">983.50722410326239</cx:pt>
          <cx:pt idx="506">997.07255691010835</cx:pt>
          <cx:pt idx="507">1004.709152842157</cx:pt>
          <cx:pt idx="508">1004.709152842157</cx:pt>
          <cx:pt idx="509">982.48362606930823</cx:pt>
          <cx:pt idx="510">1008.522780721916</cx:pt>
          <cx:pt idx="511">982.48362606930823</cx:pt>
          <cx:pt idx="512">1061.3210468260061</cx:pt>
          <cx:pt idx="513">997.07255691010835</cx:pt>
          <cx:pt idx="514">997.07255691010835</cx:pt>
          <cx:pt idx="515">1061.3210468260061</cx:pt>
          <cx:pt idx="516">1004.709152842157</cx:pt>
          <cx:pt idx="517">998.87179687941875</cx:pt>
          <cx:pt idx="518">1056.735380474408</cx:pt>
          <cx:pt idx="519">1056.6464758021491</cx:pt>
          <cx:pt idx="520">1009.1623369712451</cx:pt>
          <cx:pt idx="521">1078.388101719738</cx:pt>
          <cx:pt idx="522">1000.693514344233</cx:pt>
          <cx:pt idx="523">1056.735380474408</cx:pt>
          <cx:pt idx="524">1035.1684718611691</cx:pt>
          <cx:pt idx="525">1061.3210468260061</cx:pt>
          <cx:pt idx="526">982.48362606930823</cx:pt>
          <cx:pt idx="527">1009.1623369712451</cx:pt>
          <cx:pt idx="528">1004.709152842157</cx:pt>
          <cx:pt idx="529">983.50722410326239</cx:pt>
          <cx:pt idx="530">989.8961570732173</cx:pt>
          <cx:pt idx="531">989.8961570732173</cx:pt>
          <cx:pt idx="532">989.8961570732173</cx:pt>
          <cx:pt idx="533">997.07255691010835</cx:pt>
          <cx:pt idx="534">997.07255691010835</cx:pt>
          <cx:pt idx="535">982.48362606930823</cx:pt>
          <cx:pt idx="536">1003.424727775017</cx:pt>
          <cx:pt idx="537">982.48362606930823</cx:pt>
          <cx:pt idx="538">1003.424727775017</cx:pt>
          <cx:pt idx="539">1080.206254399867</cx:pt>
          <cx:pt idx="540">998.87179687941875</cx:pt>
          <cx:pt idx="541">1000.693514344233</cx:pt>
          <cx:pt idx="542">1056.6464758021491</cx:pt>
          <cx:pt idx="543">982.48362606930823</cx:pt>
          <cx:pt idx="544">982.48362606930823</cx:pt>
          <cx:pt idx="545">1056.735380474408</cx:pt>
          <cx:pt idx="546">1000.693514344233</cx:pt>
          <cx:pt idx="547">1061.3210468260061</cx:pt>
          <cx:pt idx="548">997.07255691010835</cx:pt>
          <cx:pt idx="549">1008.522780721916</cx:pt>
          <cx:pt idx="550">989.8961570732173</cx:pt>
          <cx:pt idx="551">998.87179687941875</cx:pt>
          <cx:pt idx="552">1004.709152842157</cx:pt>
          <cx:pt idx="553">989.8961570732173</cx:pt>
          <cx:pt idx="554">1032.630473460129</cx:pt>
          <cx:pt idx="555">982.48362606930823</cx:pt>
          <cx:pt idx="556">983.50722410326239</cx:pt>
          <cx:pt idx="557">1061.3210468260061</cx:pt>
          <cx:pt idx="558">982.48362606930823</cx:pt>
          <cx:pt idx="559">982.48362606930823</cx:pt>
          <cx:pt idx="560">1128.5134582128769</cx:pt>
          <cx:pt idx="561">1004.709152842157</cx:pt>
          <cx:pt idx="562">998.87179687941875</cx:pt>
          <cx:pt idx="563">1144.4349894340351</cx:pt>
          <cx:pt idx="564">982.48362606930823</cx:pt>
          <cx:pt idx="565">989.8961570732173</cx:pt>
          <cx:pt idx="566">997.07255691010835</cx:pt>
          <cx:pt idx="567">1056.735380474408</cx:pt>
          <cx:pt idx="568">1000.693514344233</cx:pt>
          <cx:pt idx="569">998.87179687941875</cx:pt>
          <cx:pt idx="570">1123.4306426612341</cx:pt>
          <cx:pt idx="571">1032.630473460129</cx:pt>
          <cx:pt idx="572">1078.388101719738</cx:pt>
          <cx:pt idx="573">998.87179687941875</cx:pt>
          <cx:pt idx="574">997.07255691010835</cx:pt>
          <cx:pt idx="575">982.48362606930823</cx:pt>
          <cx:pt idx="576">1035.1684718611691</cx:pt>
          <cx:pt idx="577">1000.693514344233</cx:pt>
          <cx:pt idx="578">982.48362606930823</cx:pt>
          <cx:pt idx="579">1056.735380474408</cx:pt>
          <cx:pt idx="580">982.48362606930823</cx:pt>
          <cx:pt idx="581">1121.437278342388</cx:pt>
          <cx:pt idx="582">982.48362606930823</cx:pt>
          <cx:pt idx="583">989.8961570732173</cx:pt>
          <cx:pt idx="584">1124.38074027213</cx:pt>
          <cx:pt idx="585">1056.6464758021491</cx:pt>
          <cx:pt idx="586">1079.6477980211359</cx:pt>
          <cx:pt idx="587">1000.693514344233</cx:pt>
          <cx:pt idx="588">1000.693514344233</cx:pt>
          <cx:pt idx="589">1061.3210468260061</cx:pt>
          <cx:pt idx="590">989.8961570732173</cx:pt>
          <cx:pt idx="591">1079.6477980211359</cx:pt>
          <cx:pt idx="592">1000.693514344233</cx:pt>
          <cx:pt idx="593">1061.3210468260061</cx:pt>
          <cx:pt idx="594">983.17428446052361</cx:pt>
          <cx:pt idx="595">997.07255691010835</cx:pt>
          <cx:pt idx="596">1009.1623369712451</cx:pt>
          <cx:pt idx="597">1061.3210468260061</cx:pt>
          <cx:pt idx="598">1078.388101719738</cx:pt>
          <cx:pt idx="599">1032.630473460129</cx:pt>
          <cx:pt idx="600">1078.388101719738</cx:pt>
          <cx:pt idx="601">997.07255691010835</cx:pt>
          <cx:pt idx="602">1004.709152842157</cx:pt>
          <cx:pt idx="603">960.72759331131101</cx:pt>
          <cx:pt idx="604">1000.693514344233</cx:pt>
          <cx:pt idx="605">982.48362606930823</cx:pt>
          <cx:pt idx="606">1078.388101719738</cx:pt>
          <cx:pt idx="607">1004.709152842157</cx:pt>
          <cx:pt idx="608">997.07255691010835</cx:pt>
          <cx:pt idx="609">982.48362606930823</cx:pt>
          <cx:pt idx="610">1058.713865703711</cx:pt>
          <cx:pt idx="611">1061.3210468260061</cx:pt>
          <cx:pt idx="612">983.50722410326239</cx:pt>
          <cx:pt idx="613">1061.3210468260061</cx:pt>
          <cx:pt idx="614">1128.79893279269</cx:pt>
          <cx:pt idx="615">1004.709152842157</cx:pt>
          <cx:pt idx="616">1079.6477980211359</cx:pt>
          <cx:pt idx="617">1061.3210468260061</cx:pt>
          <cx:pt idx="618">989.8961570732173</cx:pt>
          <cx:pt idx="619">1000.693514344233</cx:pt>
          <cx:pt idx="620">1000.693514344233</cx:pt>
          <cx:pt idx="621">982.48362606930823</cx:pt>
          <cx:pt idx="622">982.48362606930823</cx:pt>
          <cx:pt idx="623">1032.630473460129</cx:pt>
          <cx:pt idx="624">997.07255691010835</cx:pt>
          <cx:pt idx="625">998.87179687941875</cx:pt>
          <cx:pt idx="626">1061.3210468260061</cx:pt>
          <cx:pt idx="627">1000.693514344233</cx:pt>
          <cx:pt idx="628">998.87179687941875</cx:pt>
          <cx:pt idx="629">1078.388101719738</cx:pt>
          <cx:pt idx="630">1061.3210468260061</cx:pt>
          <cx:pt idx="631">1004.709152842157</cx:pt>
          <cx:pt idx="632">982.48362606930823</cx:pt>
          <cx:pt idx="633">998.87179687941875</cx:pt>
          <cx:pt idx="634">998.87179687941875</cx:pt>
          <cx:pt idx="635">1035.1684718611691</cx:pt>
          <cx:pt idx="636">1061.3210468260061</cx:pt>
          <cx:pt idx="637">1004.709152842157</cx:pt>
          <cx:pt idx="638">1121.437278342388</cx:pt>
          <cx:pt idx="639">1032.630473460129</cx:pt>
          <cx:pt idx="640">1128.5134582128769</cx:pt>
          <cx:pt idx="641">1056.735380474408</cx:pt>
          <cx:pt idx="642">997.07255691010835</cx:pt>
          <cx:pt idx="643">997.07255691010835</cx:pt>
          <cx:pt idx="644">1144.4349894340351</cx:pt>
          <cx:pt idx="645">1058.713865703711</cx:pt>
          <cx:pt idx="646">982.48362606930823</cx:pt>
          <cx:pt idx="647">1061.3210468260061</cx:pt>
          <cx:pt idx="648">1000.693514344233</cx:pt>
          <cx:pt idx="649">1082.1472343250839</cx:pt>
          <cx:pt idx="650">997.07255691010835</cx:pt>
          <cx:pt idx="651">1124.38074027213</cx:pt>
          <cx:pt idx="652">1004.709152842157</cx:pt>
          <cx:pt idx="653">998.87179687941875</cx:pt>
          <cx:pt idx="654">982.48362606930823</cx:pt>
          <cx:pt idx="655">1035.1684718611691</cx:pt>
          <cx:pt idx="656">997.07255691010835</cx:pt>
          <cx:pt idx="657">982.48362606930823</cx:pt>
          <cx:pt idx="658">989.8961570732173</cx:pt>
          <cx:pt idx="659">998.87179687941875</cx:pt>
          <cx:pt idx="660">997.07255691010835</cx:pt>
          <cx:pt idx="661">1078.388101719738</cx:pt>
          <cx:pt idx="662">982.48362606930823</cx:pt>
          <cx:pt idx="663">1061.3210468260061</cx:pt>
          <cx:pt idx="664">997.07255691010835</cx:pt>
          <cx:pt idx="665">1003.1744103044369</cx:pt>
          <cx:pt idx="666">982.48362606930823</cx:pt>
          <cx:pt idx="667">997.07255691010835</cx:pt>
          <cx:pt idx="668">1078.388101719738</cx:pt>
          <cx:pt idx="669">997.07255691010835</cx:pt>
          <cx:pt idx="670">982.48362606930823</cx:pt>
          <cx:pt idx="671">1000.693514344233</cx:pt>
          <cx:pt idx="672">1032.630473460129</cx:pt>
          <cx:pt idx="673">1004.709152842157</cx:pt>
          <cx:pt idx="674">1004.709152842157</cx:pt>
          <cx:pt idx="675">998.87179687941875</cx:pt>
          <cx:pt idx="676">1004.709152842157</cx:pt>
          <cx:pt idx="677">1032.630473460129</cx:pt>
          <cx:pt idx="678">1079.6477980211359</cx:pt>
          <cx:pt idx="679">982.48362606930823</cx:pt>
          <cx:pt idx="680">998.87179687941875</cx:pt>
          <cx:pt idx="681">982.48362606930823</cx:pt>
          <cx:pt idx="682">998.87179687941875</cx:pt>
          <cx:pt idx="683">1079.6477980211359</cx:pt>
          <cx:pt idx="684">1128.5134582128769</cx:pt>
          <cx:pt idx="685">989.8961570732173</cx:pt>
          <cx:pt idx="686">982.48362606930823</cx:pt>
          <cx:pt idx="687">1056.6464758021491</cx:pt>
          <cx:pt idx="688">982.48362606930823</cx:pt>
          <cx:pt idx="689">1035.1684718611691</cx:pt>
          <cx:pt idx="690">982.48362606930823</cx:pt>
          <cx:pt idx="691">1080.206254399867</cx:pt>
          <cx:pt idx="692">1056.735380474408</cx:pt>
          <cx:pt idx="693">982.48362606930823</cx:pt>
          <cx:pt idx="694">1004.709152842157</cx:pt>
          <cx:pt idx="695">1000.693514344233</cx:pt>
          <cx:pt idx="696">998.87179687941875</cx:pt>
          <cx:pt idx="697">1035.1684718611691</cx:pt>
          <cx:pt idx="698">997.07255691010835</cx:pt>
          <cx:pt idx="699">997.07255691010835</cx:pt>
          <cx:pt idx="700">997.07255691010835</cx:pt>
          <cx:pt idx="701">983.50722410326239</cx:pt>
          <cx:pt idx="702">989.8961570732173</cx:pt>
          <cx:pt idx="703">998.87179687941875</cx:pt>
          <cx:pt idx="704">1121.437278342388</cx:pt>
          <cx:pt idx="705">989.8961570732173</cx:pt>
          <cx:pt idx="706">998.87179687941875</cx:pt>
          <cx:pt idx="707">1058.713865703711</cx:pt>
          <cx:pt idx="708">960.72759331131101</cx:pt>
          <cx:pt idx="709">998.87179687941875</cx:pt>
          <cx:pt idx="710">989.8961570732173</cx:pt>
          <cx:pt idx="711">1003.424727775017</cx:pt>
          <cx:pt idx="712">1078.073305338424</cx:pt>
          <cx:pt idx="713">1000.693514344233</cx:pt>
          <cx:pt idx="714">1095.544826484366</cx:pt>
          <cx:pt idx="715">1058.713865703711</cx:pt>
          <cx:pt idx="716">998.87179687941875</cx:pt>
          <cx:pt idx="717">982.48362606930823</cx:pt>
          <cx:pt idx="718">989.8961570732173</cx:pt>
          <cx:pt idx="719">998.87179687941875</cx:pt>
          <cx:pt idx="720">982.48362606930823</cx:pt>
          <cx:pt idx="721">1061.3210468260061</cx:pt>
          <cx:pt idx="722">1144.4349894340351</cx:pt>
          <cx:pt idx="723">989.8961570732173</cx:pt>
          <cx:pt idx="724">998.87179687941875</cx:pt>
          <cx:pt idx="725">1008.522780721916</cx:pt>
          <cx:pt idx="726">1004.709152842157</cx:pt>
          <cx:pt idx="727">1078.388101719738</cx:pt>
          <cx:pt idx="728">1056.735380474408</cx:pt>
          <cx:pt idx="729">1000.693514344233</cx:pt>
          <cx:pt idx="730">1004.709152842157</cx:pt>
          <cx:pt idx="731">998.87179687941875</cx:pt>
          <cx:pt idx="732">998.87179687941875</cx:pt>
          <cx:pt idx="733">998.87179687941875</cx:pt>
          <cx:pt idx="734">1003.424727775017</cx:pt>
          <cx:pt idx="735">997.07255691010835</cx:pt>
          <cx:pt idx="736">998.87179687941875</cx:pt>
          <cx:pt idx="737">1078.388101719738</cx:pt>
          <cx:pt idx="738">982.48362606930823</cx:pt>
          <cx:pt idx="739">982.48362606930823</cx:pt>
          <cx:pt idx="740">1000.693514344233</cx:pt>
          <cx:pt idx="741">1061.3210468260061</cx:pt>
          <cx:pt idx="742">1058.713865703711</cx:pt>
          <cx:pt idx="743">1003.424727775017</cx:pt>
          <cx:pt idx="744">1128.5134582128769</cx:pt>
          <cx:pt idx="745">1124.38074027213</cx:pt>
          <cx:pt idx="746">1111.2034032001791</cx:pt>
          <cx:pt idx="747">1061.3210468260061</cx:pt>
          <cx:pt idx="748">1111.2034032001791</cx:pt>
          <cx:pt idx="749">998.87179687941875</cx:pt>
          <cx:pt idx="750">982.48362606930823</cx:pt>
          <cx:pt idx="751">1056.735380474408</cx:pt>
          <cx:pt idx="752">998.87179687941875</cx:pt>
          <cx:pt idx="753">1004.709152842157</cx:pt>
          <cx:pt idx="754">1056.6464758021491</cx:pt>
          <cx:pt idx="755">1004.709152842157</cx:pt>
          <cx:pt idx="756">997.07255691010835</cx:pt>
          <cx:pt idx="757">1004.709152842157</cx:pt>
          <cx:pt idx="758">1061.3210468260061</cx:pt>
          <cx:pt idx="759">1056.6464758021491</cx:pt>
          <cx:pt idx="760">998.87179687941875</cx:pt>
          <cx:pt idx="761">989.8961570732173</cx:pt>
          <cx:pt idx="762">1003.424727775017</cx:pt>
          <cx:pt idx="763">982.48362606930823</cx:pt>
          <cx:pt idx="764">1004.709152842157</cx:pt>
          <cx:pt idx="765">983.50722410326239</cx:pt>
          <cx:pt idx="766">1078.388101719738</cx:pt>
          <cx:pt idx="767">1056.735380474408</cx:pt>
          <cx:pt idx="768">1080.206254399867</cx:pt>
          <cx:pt idx="769">1000.693514344233</cx:pt>
          <cx:pt idx="770">1056.6464758021491</cx:pt>
          <cx:pt idx="771">1004.709152842157</cx:pt>
          <cx:pt idx="772">989.8961570732173</cx:pt>
          <cx:pt idx="773">1004.709152842157</cx:pt>
          <cx:pt idx="774">989.8961570732173</cx:pt>
          <cx:pt idx="775">1078.388101719738</cx:pt>
          <cx:pt idx="776">1000.693514344233</cx:pt>
          <cx:pt idx="777">998.87179687941875</cx:pt>
          <cx:pt idx="778">998.87179687941875</cx:pt>
          <cx:pt idx="779">983.17428446052361</cx:pt>
          <cx:pt idx="780">1004.709152842157</cx:pt>
          <cx:pt idx="781">989.8961570732173</cx:pt>
          <cx:pt idx="782">1035.1684718611691</cx:pt>
          <cx:pt idx="783">982.48362606930823</cx:pt>
          <cx:pt idx="784">997.07255691010835</cx:pt>
          <cx:pt idx="785">983.50722410326239</cx:pt>
          <cx:pt idx="786">982.48362606930823</cx:pt>
          <cx:pt idx="787">1056.735380474408</cx:pt>
          <cx:pt idx="788">983.50722410326239</cx:pt>
          <cx:pt idx="789">1004.709152842157</cx:pt>
          <cx:pt idx="790">982.48362606930823</cx:pt>
          <cx:pt idx="791">989.8961570732173</cx:pt>
          <cx:pt idx="792">1004.709152842157</cx:pt>
          <cx:pt idx="793">1004.709152842157</cx:pt>
          <cx:pt idx="794">982.48362606930823</cx:pt>
          <cx:pt idx="795">983.17428446052361</cx:pt>
          <cx:pt idx="796">989.8961570732173</cx:pt>
          <cx:pt idx="797">998.87179687941875</cx:pt>
          <cx:pt idx="798">1056.6464758021491</cx:pt>
          <cx:pt idx="799">998.87179687941875</cx:pt>
          <cx:pt idx="800">1032.630473460129</cx:pt>
          <cx:pt idx="801">1056.735380474408</cx:pt>
          <cx:pt idx="802">1061.3210468260061</cx:pt>
          <cx:pt idx="803">1003.424727775017</cx:pt>
          <cx:pt idx="804">998.87179687941875</cx:pt>
          <cx:pt idx="805">1000.693514344233</cx:pt>
          <cx:pt idx="806">983.17428446052361</cx:pt>
          <cx:pt idx="807">1061.3210468260061</cx:pt>
          <cx:pt idx="808">1061.3210468260061</cx:pt>
          <cx:pt idx="809">983.17428446052361</cx:pt>
          <cx:pt idx="810">982.48362606930823</cx:pt>
          <cx:pt idx="811">1004.709152842157</cx:pt>
          <cx:pt idx="812">998.87179687941875</cx:pt>
          <cx:pt idx="813">1061.3210468260061</cx:pt>
          <cx:pt idx="814">982.48362606930823</cx:pt>
          <cx:pt idx="815">1080.206254399867</cx:pt>
          <cx:pt idx="816">998.87179687941875</cx:pt>
          <cx:pt idx="817">983.50722410326239</cx:pt>
          <cx:pt idx="818">998.87179687941875</cx:pt>
          <cx:pt idx="819">1035.1684718611691</cx:pt>
          <cx:pt idx="820">982.48362606930823</cx:pt>
          <cx:pt idx="821">982.48362606930823</cx:pt>
          <cx:pt idx="822">1004.709152842157</cx:pt>
          <cx:pt idx="823">983.50722410326239</cx:pt>
          <cx:pt idx="824">1003.424727775017</cx:pt>
          <cx:pt idx="825">998.87179687941875</cx:pt>
          <cx:pt idx="826">998.87179687941875</cx:pt>
          <cx:pt idx="827">989.8961570732173</cx:pt>
          <cx:pt idx="828">989.8961570732173</cx:pt>
          <cx:pt idx="829">1004.709152842157</cx:pt>
          <cx:pt idx="830">983.17428446052361</cx:pt>
          <cx:pt idx="831">1061.3210468260061</cx:pt>
          <cx:pt idx="832">1008.522780721916</cx:pt>
          <cx:pt idx="833">998.87179687941875</cx:pt>
          <cx:pt idx="834">1124.38074027213</cx:pt>
          <cx:pt idx="835">998.87179687941875</cx:pt>
          <cx:pt idx="836">1058.713865703711</cx:pt>
          <cx:pt idx="837">989.8961570732173</cx:pt>
          <cx:pt idx="838">998.87179687941875</cx:pt>
          <cx:pt idx="839">989.8961570732173</cx:pt>
          <cx:pt idx="840">989.8961570732173</cx:pt>
          <cx:pt idx="841">1000.693514344233</cx:pt>
          <cx:pt idx="842">998.87179687941875</cx:pt>
          <cx:pt idx="843">982.48362606930823</cx:pt>
          <cx:pt idx="844">982.48362606930823</cx:pt>
          <cx:pt idx="845">1003.424727775017</cx:pt>
          <cx:pt idx="846">1004.709152842157</cx:pt>
          <cx:pt idx="847">1004.709152842157</cx:pt>
          <cx:pt idx="848">998.87179687941875</cx:pt>
          <cx:pt idx="849">1061.3210468260061</cx:pt>
          <cx:pt idx="850">1035.1684718611691</cx:pt>
          <cx:pt idx="851">998.87179687941875</cx:pt>
          <cx:pt idx="852">1035.1684718611691</cx:pt>
          <cx:pt idx="853">1061.3210468260061</cx:pt>
          <cx:pt idx="854">982.48362606930823</cx:pt>
          <cx:pt idx="855">982.48362606930823</cx:pt>
          <cx:pt idx="856">989.8961570732173</cx:pt>
          <cx:pt idx="857">982.48362606930823</cx:pt>
          <cx:pt idx="858">998.87179687941875</cx:pt>
          <cx:pt idx="859">1000.693514344233</cx:pt>
          <cx:pt idx="860">998.87179687941875</cx:pt>
          <cx:pt idx="861">983.50722410326239</cx:pt>
          <cx:pt idx="862">1121.437278342388</cx:pt>
          <cx:pt idx="863">989.8961570732173</cx:pt>
          <cx:pt idx="864">1004.709152842157</cx:pt>
          <cx:pt idx="865">982.48362606930823</cx:pt>
          <cx:pt idx="866">1080.206254399867</cx:pt>
          <cx:pt idx="867">1058.713865703711</cx:pt>
          <cx:pt idx="868">1000.693514344233</cx:pt>
          <cx:pt idx="869">997.07255691010835</cx:pt>
          <cx:pt idx="870">1004.709152842157</cx:pt>
          <cx:pt idx="871">989.8961570732173</cx:pt>
          <cx:pt idx="872">998.87179687941875</cx:pt>
          <cx:pt idx="873">982.48362606930823</cx:pt>
          <cx:pt idx="874">1004.709152842157</cx:pt>
          <cx:pt idx="875">998.87179687941875</cx:pt>
          <cx:pt idx="876">1061.3210468260061</cx:pt>
          <cx:pt idx="877">1003.1744103044369</cx:pt>
          <cx:pt idx="878">1000.693514344233</cx:pt>
          <cx:pt idx="879">1000.693514344233</cx:pt>
          <cx:pt idx="880">1009.1623369712451</cx:pt>
          <cx:pt idx="881">989.8961570732173</cx:pt>
          <cx:pt idx="882">1005.773342161303</cx:pt>
          <cx:pt idx="883">1061.3210468260061</cx:pt>
          <cx:pt idx="884">1035.1684718611691</cx:pt>
          <cx:pt idx="885">998.87179687941875</cx:pt>
          <cx:pt idx="886">998.87179687941875</cx:pt>
          <cx:pt idx="887">982.48362606930823</cx:pt>
          <cx:pt idx="888">982.48362606930823</cx:pt>
          <cx:pt idx="889">1004.709152842157</cx:pt>
          <cx:pt idx="890">983.17428446052361</cx:pt>
          <cx:pt idx="891">1032.630473460129</cx:pt>
          <cx:pt idx="892">982.48362606930823</cx:pt>
          <cx:pt idx="893">989.8961570732173</cx:pt>
          <cx:pt idx="894">1035.1684718611691</cx:pt>
          <cx:pt idx="895">997.07255691010835</cx:pt>
          <cx:pt idx="896">1035.1684718611691</cx:pt>
          <cx:pt idx="897">1000.693514344233</cx:pt>
          <cx:pt idx="898">982.48362606930823</cx:pt>
          <cx:pt idx="899">1035.1684718611691</cx:pt>
          <cx:pt idx="900">989.8961570732173</cx:pt>
          <cx:pt idx="901">982.48362606930823</cx:pt>
          <cx:pt idx="902">1095.544826484366</cx:pt>
          <cx:pt idx="903">982.48362606930823</cx:pt>
          <cx:pt idx="904">1128.79893279269</cx:pt>
          <cx:pt idx="905">998.87179687941875</cx:pt>
          <cx:pt idx="906">1078.073305338424</cx:pt>
          <cx:pt idx="907">1128.79893279269</cx:pt>
          <cx:pt idx="908">1004.709152842157</cx:pt>
          <cx:pt idx="909">1128.5134582128769</cx:pt>
          <cx:pt idx="910">1035.1684718611691</cx:pt>
          <cx:pt idx="911">998.87179687941875</cx:pt>
          <cx:pt idx="912">982.48362606930823</cx:pt>
          <cx:pt idx="913">1056.6464758021491</cx:pt>
          <cx:pt idx="914">997.07255691010835</cx:pt>
          <cx:pt idx="915">983.50722410326239</cx:pt>
          <cx:pt idx="916">998.87179687941875</cx:pt>
          <cx:pt idx="917">982.48362606930823</cx:pt>
          <cx:pt idx="918">1056.735380474408</cx:pt>
          <cx:pt idx="919">982.48362606930823</cx:pt>
          <cx:pt idx="920">982.48362606930823</cx:pt>
          <cx:pt idx="921">1056.6464758021491</cx:pt>
          <cx:pt idx="922">998.87179687941875</cx:pt>
          <cx:pt idx="923">1000.693514344233</cx:pt>
          <cx:pt idx="924">998.87179687941875</cx:pt>
          <cx:pt idx="925">1003.424727775017</cx:pt>
          <cx:pt idx="926">989.8961570732173</cx:pt>
          <cx:pt idx="927">1000.693514344233</cx:pt>
          <cx:pt idx="928">1056.735380474408</cx:pt>
          <cx:pt idx="929">1000.693514344233</cx:pt>
          <cx:pt idx="930">1056.6464758021491</cx:pt>
          <cx:pt idx="931">960.72759331131101</cx:pt>
          <cx:pt idx="932">1061.3210468260061</cx:pt>
          <cx:pt idx="933">998.87179687941875</cx:pt>
          <cx:pt idx="934">1004.709152842157</cx:pt>
          <cx:pt idx="935">982.48362606930823</cx:pt>
          <cx:pt idx="936">997.07255691010835</cx:pt>
          <cx:pt idx="937">983.50722410326239</cx:pt>
          <cx:pt idx="938">1004.709152842157</cx:pt>
          <cx:pt idx="939">997.07255691010835</cx:pt>
          <cx:pt idx="940">1004.709152842157</cx:pt>
          <cx:pt idx="941">982.48362606930823</cx:pt>
          <cx:pt idx="942">1004.709152842157</cx:pt>
          <cx:pt idx="943">998.87179687941875</cx:pt>
          <cx:pt idx="944">989.8961570732173</cx:pt>
          <cx:pt idx="945">998.87179687941875</cx:pt>
          <cx:pt idx="946">1061.3210468260061</cx:pt>
          <cx:pt idx="947">998.87179687941875</cx:pt>
          <cx:pt idx="948">989.8961570732173</cx:pt>
          <cx:pt idx="949">998.87179687941875</cx:pt>
          <cx:pt idx="950">1061.3210468260061</cx:pt>
          <cx:pt idx="951">982.48362606930823</cx:pt>
          <cx:pt idx="952">1056.735380474408</cx:pt>
          <cx:pt idx="953">1035.1684718611691</cx:pt>
          <cx:pt idx="954">998.87179687941875</cx:pt>
          <cx:pt idx="955">998.87179687941875</cx:pt>
          <cx:pt idx="956">1059.001858248607</cx:pt>
          <cx:pt idx="957">1061.3210468260061</cx:pt>
          <cx:pt idx="958">983.50722410326239</cx:pt>
          <cx:pt idx="959">982.48362606930823</cx:pt>
          <cx:pt idx="960">982.48362606930823</cx:pt>
          <cx:pt idx="961">1035.1684718611691</cx:pt>
          <cx:pt idx="962">982.48362606930823</cx:pt>
          <cx:pt idx="963">1035.1684718611691</cx:pt>
          <cx:pt idx="964">997.07255691010835</cx:pt>
          <cx:pt idx="965">1000.693514344233</cx:pt>
          <cx:pt idx="966">1061.3210468260061</cx:pt>
          <cx:pt idx="967">998.87179687941875</cx:pt>
          <cx:pt idx="968">998.87179687941875</cx:pt>
          <cx:pt idx="969">1061.3210468260061</cx:pt>
          <cx:pt idx="970">1080.206254399867</cx:pt>
          <cx:pt idx="971">1000.693514344233</cx:pt>
          <cx:pt idx="972">998.87179687941875</cx:pt>
          <cx:pt idx="973">998.87179687941875</cx:pt>
          <cx:pt idx="974">1008.522780721916</cx:pt>
          <cx:pt idx="975">1032.630473460129</cx:pt>
          <cx:pt idx="976">982.48362606930823</cx:pt>
          <cx:pt idx="977">1061.3210468260061</cx:pt>
          <cx:pt idx="978">982.48362606930823</cx:pt>
          <cx:pt idx="979">998.87179687941875</cx:pt>
          <cx:pt idx="980">989.8961570732173</cx:pt>
          <cx:pt idx="981">1035.1684718611691</cx:pt>
          <cx:pt idx="982">1000.693514344233</cx:pt>
          <cx:pt idx="983">997.07255691010835</cx:pt>
          <cx:pt idx="984">983.50722410326239</cx:pt>
          <cx:pt idx="985">982.48362606930823</cx:pt>
          <cx:pt idx="986">997.07255691010835</cx:pt>
          <cx:pt idx="987">1035.1684718611691</cx:pt>
          <cx:pt idx="988">1000.693514344233</cx:pt>
          <cx:pt idx="989">998.87179687941875</cx:pt>
          <cx:pt idx="990">1035.1684718611691</cx:pt>
          <cx:pt idx="991">1061.3210468260061</cx:pt>
          <cx:pt idx="992">1121.437278342388</cx:pt>
          <cx:pt idx="993">1128.5134582128769</cx:pt>
          <cx:pt idx="994">1000.693514344233</cx:pt>
          <cx:pt idx="995">982.48362606930823</cx:pt>
          <cx:pt idx="996">1008.522780721916</cx:pt>
          <cx:pt idx="997">1032.630473460129</cx:pt>
          <cx:pt idx="998">982.48362606930823</cx:pt>
          <cx:pt idx="999">1061.3210468260061</cx:pt>
        </cx:lvl>
      </cx:numDim>
    </cx:data>
  </cx:chartData>
  <cx:chart>
    <cx:plotArea>
      <cx:plotAreaRegion>
        <cx:series layoutId="clusteredColumn" uniqueId="{27DDB30F-B2E1-47BB-8EF9-842B027CFBBC}">
          <cx:tx>
            <cx:txData>
              <cx:f>Sheet1!$B$1</cx:f>
              <cx:v>solution_value</cx:v>
            </cx:txData>
          </cx:tx>
          <cx:spPr>
            <a:solidFill>
              <a:srgbClr val="002C77"/>
            </a:solidFill>
          </cx:spPr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>
                    <a:solidFill>
                      <a:schemeClr val="tx1"/>
                    </a:solidFill>
                  </a:defRPr>
                </a:pPr>
                <a:endParaRPr lang="en-US" sz="14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visibility seriesName="0" categoryName="0" value="1"/>
          </cx:dataLabels>
          <cx:dataId val="0"/>
          <cx:layoutPr>
            <cx:binning intervalClosed="r"/>
          </cx:layoutPr>
        </cx:series>
      </cx:plotAreaRegion>
      <cx:axis id="0">
        <cx:catScaling gapWidth="0"/>
        <cx:tickLabels/>
        <cx:numFmt formatCode="#.##0" sourceLinked="0"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200">
                <a:solidFill>
                  <a:schemeClr val="tx1"/>
                </a:solidFill>
              </a:defRPr>
            </a:pPr>
            <a:endParaRPr lang="en-US" sz="1200" b="0" i="0" u="none" strike="noStrike" baseline="0">
              <a:solidFill>
                <a:schemeClr val="tx1"/>
              </a:solidFill>
              <a:latin typeface="Calibri" panose="020F0502020204030204"/>
            </a:endParaRPr>
          </a:p>
        </cx:txPr>
      </cx:axis>
      <cx:axis id="1" hidden="1">
        <cx:valScaling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Sheet1!$B$2:$B$1001</cx:f>
        <cx:lvl ptCount="1000" formatCode="Geral">
          <cx:pt idx="0">1297.9829995313339</cx:pt>
          <cx:pt idx="1">1231.4346407292769</cx:pt>
          <cx:pt idx="2">1218.926583254864</cx:pt>
          <cx:pt idx="3">1267.380920239232</cx:pt>
          <cx:pt idx="4">1246.1812136607059</cx:pt>
          <cx:pt idx="5">1122.083653218416</cx:pt>
          <cx:pt idx="6">1106.9753496211431</cx:pt>
          <cx:pt idx="7">1226.0782622885131</cx:pt>
          <cx:pt idx="8">1293.2719985709191</cx:pt>
          <cx:pt idx="9">1182.768854540577</cx:pt>
          <cx:pt idx="10">1254.284681266477</cx:pt>
          <cx:pt idx="11">1136.383507067306</cx:pt>
          <cx:pt idx="12">1288.143847906638</cx:pt>
          <cx:pt idx="13">1313.084275583702</cx:pt>
          <cx:pt idx="14">1260.4278865769161</cx:pt>
          <cx:pt idx="15">1161.320066127779</cx:pt>
          <cx:pt idx="16">1204.113663715947</cx:pt>
          <cx:pt idx="17">1278.475364567204</cx:pt>
          <cx:pt idx="18">1167.113195449002</cx:pt>
          <cx:pt idx="19">1242.080235193637</cx:pt>
          <cx:pt idx="20">1256.7117266070111</cx:pt>
          <cx:pt idx="21">1298.655559330369</cx:pt>
          <cx:pt idx="22">1121.324054213924</cx:pt>
          <cx:pt idx="23">1158.083234167575</cx:pt>
          <cx:pt idx="24">1169.685190581162</cx:pt>
          <cx:pt idx="25">1191.330449892557</cx:pt>
          <cx:pt idx="26">1254.831343320647</cx:pt>
          <cx:pt idx="27">1285.268087020808</cx:pt>
          <cx:pt idx="28">1184.4608485412821</cx:pt>
          <cx:pt idx="29">1203.988159053207</cx:pt>
          <cx:pt idx="30">1247.77415664003</cx:pt>
          <cx:pt idx="31">1135.0302923432789</cx:pt>
          <cx:pt idx="32">1195.866074711043</cx:pt>
          <cx:pt idx="33">1154.987610510419</cx:pt>
          <cx:pt idx="34">1116.667346358666</cx:pt>
          <cx:pt idx="35">1249.059771560642</cx:pt>
          <cx:pt idx="36">1261.5300972149159</cx:pt>
          <cx:pt idx="37">1318.4214565254381</cx:pt>
          <cx:pt idx="38">1191.300757987487</cx:pt>
          <cx:pt idx="39">1231.9910150391261</cx:pt>
          <cx:pt idx="40">1197.157691575851</cx:pt>
          <cx:pt idx="41">1163.316049250963</cx:pt>
          <cx:pt idx="42">1180.631592837193</cx:pt>
          <cx:pt idx="43">1207.9400741367599</cx:pt>
          <cx:pt idx="44">1340.1577654939831</cx:pt>
          <cx:pt idx="45">1096.6777931987081</cx:pt>
          <cx:pt idx="46">1212.6188645152979</cx:pt>
          <cx:pt idx="47">1260.495917204739</cx:pt>
          <cx:pt idx="48">1176.7655469372701</cx:pt>
          <cx:pt idx="49">1235.943815507306</cx:pt>
          <cx:pt idx="50">1289.7896945297221</cx:pt>
          <cx:pt idx="51">1315.714842000807</cx:pt>
          <cx:pt idx="52">1252.7930344447741</cx:pt>
          <cx:pt idx="53">1249.184989419367</cx:pt>
          <cx:pt idx="54">1375.0395515202711</cx:pt>
          <cx:pt idx="55">1334.7643847681099</cx:pt>
          <cx:pt idx="56">1211.5829111008979</cx:pt>
          <cx:pt idx="57">1130.61687869256</cx:pt>
          <cx:pt idx="58">1273.1654377357031</cx:pt>
          <cx:pt idx="59">1167.850345170853</cx:pt>
          <cx:pt idx="60">1230.3052810398569</cx:pt>
          <cx:pt idx="61">1240.2971061536959</cx:pt>
          <cx:pt idx="62">1144.094162819463</cx:pt>
          <cx:pt idx="63">1228.0085113866101</cx:pt>
          <cx:pt idx="64">1166.531800614651</cx:pt>
          <cx:pt idx="65">1209.548808608826</cx:pt>
          <cx:pt idx="66">1350.4752620325539</cx:pt>
          <cx:pt idx="67">1226.2678817259191</cx:pt>
          <cx:pt idx="68">1135.701718489152</cx:pt>
          <cx:pt idx="69">1168.741378198868</cx:pt>
          <cx:pt idx="70">1217.1990867637271</cx:pt>
          <cx:pt idx="71">1225.503788642794</cx:pt>
          <cx:pt idx="72">1242.968783686299</cx:pt>
          <cx:pt idx="73">1173.9691973700569</cx:pt>
          <cx:pt idx="74">1255.9513250978659</cx:pt>
          <cx:pt idx="75">1251.3543507676579</cx:pt>
          <cx:pt idx="76">1128.4728716515201</cx:pt>
          <cx:pt idx="77">1278.3180203095469</cx:pt>
          <cx:pt idx="78">1084.803767516139</cx:pt>
          <cx:pt idx="79">1227.606509289295</cx:pt>
          <cx:pt idx="80">1306.4605563920541</cx:pt>
          <cx:pt idx="81">1205.594027221136</cx:pt>
          <cx:pt idx="82">1193.319360754926</cx:pt>
          <cx:pt idx="83">1295.734324333604</cx:pt>
          <cx:pt idx="84">1172.9692440610911</cx:pt>
          <cx:pt idx="85">1303.812759149479</cx:pt>
          <cx:pt idx="86">1104.594817413393</cx:pt>
          <cx:pt idx="87">1261.9717885842131</cx:pt>
          <cx:pt idx="88">1205.2925785173909</cx:pt>
          <cx:pt idx="89">1181.4973195888281</cx:pt>
          <cx:pt idx="90">1123.602223372548</cx:pt>
          <cx:pt idx="91">1281.3424892939979</cx:pt>
          <cx:pt idx="92">1236.5528816519729</cx:pt>
          <cx:pt idx="93">1275.6336866258739</cx:pt>
          <cx:pt idx="94">1284.481491302987</cx:pt>
          <cx:pt idx="95">1316.1452200644731</cx:pt>
          <cx:pt idx="96">1244.97623383372</cx:pt>
          <cx:pt idx="97">1262.1905068766621</cx:pt>
          <cx:pt idx="98">1361.127918681985</cx:pt>
          <cx:pt idx="99">1137.385008116963</cx:pt>
          <cx:pt idx="100">1163.6207665271261</cx:pt>
          <cx:pt idx="101">1242.781333620014</cx:pt>
          <cx:pt idx="102">1127.227361318885</cx:pt>
          <cx:pt idx="103">1169.2681539108221</cx:pt>
          <cx:pt idx="104">1212.136392884174</cx:pt>
          <cx:pt idx="105">1228.941062501252</cx:pt>
          <cx:pt idx="106">1271.3887227973109</cx:pt>
          <cx:pt idx="107">1230.786383974824</cx:pt>
          <cx:pt idx="108">1212.6890009562189</cx:pt>
          <cx:pt idx="109">1206.66775330111</cx:pt>
          <cx:pt idx="110">1070.901343080679</cx:pt>
          <cx:pt idx="111">1124.818262406724</cx:pt>
          <cx:pt idx="112">1224.0056952035759</cx:pt>
          <cx:pt idx="113">1293.538081085441</cx:pt>
          <cx:pt idx="114">1221.10949317424</cx:pt>
          <cx:pt idx="115">1219.1998686720981</cx:pt>
          <cx:pt idx="116">1258.9920010025801</cx:pt>
          <cx:pt idx="117">1342.47315043444</cx:pt>
          <cx:pt idx="118">1143.0794100536921</cx:pt>
          <cx:pt idx="119">1381.558460726797</cx:pt>
          <cx:pt idx="120">1247.687716721729</cx:pt>
          <cx:pt idx="121">1347.2000509789191</cx:pt>
          <cx:pt idx="122">1350.140661321735</cx:pt>
          <cx:pt idx="123">1297.333683924712</cx:pt>
          <cx:pt idx="124">1207.7915211934551</cx:pt>
          <cx:pt idx="125">1183.46811674213</cx:pt>
          <cx:pt idx="126">1254.702311765217</cx:pt>
          <cx:pt idx="127">1266.129908400691</cx:pt>
          <cx:pt idx="128">1250.686881227015</cx:pt>
          <cx:pt idx="129">1193.20379451079</cx:pt>
          <cx:pt idx="130">1360.402547087893</cx:pt>
          <cx:pt idx="131">1143.708393337869</cx:pt>
          <cx:pt idx="132">1084.9175252395239</cx:pt>
          <cx:pt idx="133">1185.2319693865149</cx:pt>
          <cx:pt idx="134">1256.557995668298</cx:pt>
          <cx:pt idx="135">1219.064968243694</cx:pt>
          <cx:pt idx="136">1154.5566739475089</cx:pt>
          <cx:pt idx="137">1301.1382608624201</cx:pt>
          <cx:pt idx="138">1281.0668521795401</cx:pt>
          <cx:pt idx="139">1179.837272049378</cx:pt>
          <cx:pt idx="140">1122.127391499077</cx:pt>
          <cx:pt idx="141">1253.8627760565039</cx:pt>
          <cx:pt idx="142">1149.516210556671</cx:pt>
          <cx:pt idx="143">1301.8387581385271</cx:pt>
          <cx:pt idx="144">1382.9499000338169</cx:pt>
          <cx:pt idx="145">1269.2195929086361</cx:pt>
          <cx:pt idx="146">1102.6616424663259</cx:pt>
          <cx:pt idx="147">1277.781387707332</cx:pt>
          <cx:pt idx="148">1242.752642047637</cx:pt>
          <cx:pt idx="149">1278.644408092649</cx:pt>
          <cx:pt idx="150">1137.5949711893791</cx:pt>
          <cx:pt idx="151">1271.98741373793</cx:pt>
          <cx:pt idx="152">1270.179662547989</cx:pt>
          <cx:pt idx="153">1135.533106906551</cx:pt>
          <cx:pt idx="154">1251.470840378983</cx:pt>
          <cx:pt idx="155">1278.7677104740101</cx:pt>
          <cx:pt idx="156">1217.41589166163</cx:pt>
          <cx:pt idx="157">1195.457620018474</cx:pt>
          <cx:pt idx="158">1197.8786285179131</cx:pt>
          <cx:pt idx="159">1195.5635599695829</cx:pt>
          <cx:pt idx="160">1324.3811781833081</cx:pt>
          <cx:pt idx="161">1272.3692138099011</cx:pt>
          <cx:pt idx="162">1230.609543310997</cx:pt>
          <cx:pt idx="163">1280.6093362876841</cx:pt>
          <cx:pt idx="164">1187.192675238628</cx:pt>
          <cx:pt idx="165">1163.127897551858</cx:pt>
          <cx:pt idx="166">1172.8475312297071</cx:pt>
          <cx:pt idx="167">1299.4854793354309</cx:pt>
          <cx:pt idx="168">1311.7373770281581</cx:pt>
          <cx:pt idx="169">1246.0756931014851</cx:pt>
          <cx:pt idx="170">1235.3918764825339</cx:pt>
          <cx:pt idx="171">1260.737807707214</cx:pt>
          <cx:pt idx="172">1206.367813982383</cx:pt>
          <cx:pt idx="173">1177.9000918240561</cx:pt>
          <cx:pt idx="174">1223.9998711303761</cx:pt>
          <cx:pt idx="175">1135.9576788007439</cx:pt>
          <cx:pt idx="176">1187.597147696923</cx:pt>
          <cx:pt idx="177">1214.3736580724219</cx:pt>
          <cx:pt idx="178">1166.3854057521551</cx:pt>
          <cx:pt idx="179">1121.168661648232</cx:pt>
          <cx:pt idx="180">1177.618192911576</cx:pt>
          <cx:pt idx="181">1202.5144716679811</cx:pt>
          <cx:pt idx="182">1232.5048840828549</cx:pt>
          <cx:pt idx="183">1299.0084493277791</cx:pt>
          <cx:pt idx="184">1205.542684313061</cx:pt>
          <cx:pt idx="185">1224.9440997697909</cx:pt>
          <cx:pt idx="186">1306.213564578391</cx:pt>
          <cx:pt idx="187">1273.081166563057</cx:pt>
          <cx:pt idx="188">1301.7244060283069</cx:pt>
          <cx:pt idx="189">1133.040913033871</cx:pt>
          <cx:pt idx="190">1165.546891487777</cx:pt>
          <cx:pt idx="191">1202.126475488358</cx:pt>
          <cx:pt idx="192">1309.7808981142041</cx:pt>
          <cx:pt idx="193">1197.002225162197</cx:pt>
          <cx:pt idx="194">1235.3509374812661</cx:pt>
          <cx:pt idx="195">1151.6634810995829</cx:pt>
          <cx:pt idx="196">1236.7221277094609</cx:pt>
          <cx:pt idx="197">1123.008876893213</cx:pt>
          <cx:pt idx="198">1122.848344235684</cx:pt>
          <cx:pt idx="199">1192.599383132896</cx:pt>
          <cx:pt idx="200">1235.85581183155</cx:pt>
          <cx:pt idx="201">1162.0864144589891</cx:pt>
          <cx:pt idx="202">1217.9566798397491</cx:pt>
          <cx:pt idx="203">1173.42146606454</cx:pt>
          <cx:pt idx="204">1185.099019144041</cx:pt>
          <cx:pt idx="205">1254.222651319435</cx:pt>
          <cx:pt idx="206">1127.7693166060751</cx:pt>
          <cx:pt idx="207">1196.3766222385821</cx:pt>
          <cx:pt idx="208">1183.8526392801641</cx:pt>
          <cx:pt idx="209">1285.476033498265</cx:pt>
          <cx:pt idx="210">1315.7562300746149</cx:pt>
          <cx:pt idx="211">1197.334149167664</cx:pt>
          <cx:pt idx="212">1196.8850079979411</cx:pt>
          <cx:pt idx="213">1279.039711837356</cx:pt>
          <cx:pt idx="214">1252.508036433308</cx:pt>
          <cx:pt idx="215">1168.1946056193331</cx:pt>
          <cx:pt idx="216">1210.882267879686</cx:pt>
          <cx:pt idx="217">1269.047740748</cx:pt>
          <cx:pt idx="218">1192.9495924293301</cx:pt>
          <cx:pt idx="219">1231.8929829215051</cx:pt>
          <cx:pt idx="220">1214.279366527338</cx:pt>
          <cx:pt idx="221">1322.1903576251379</cx:pt>
          <cx:pt idx="222">1263.1858449740639</cx:pt>
          <cx:pt idx="223">1130.45671868983</cx:pt>
          <cx:pt idx="224">1296.7895325267421</cx:pt>
          <cx:pt idx="225">1158.1655055312419</cx:pt>
          <cx:pt idx="226">1168.5062002297959</cx:pt>
          <cx:pt idx="227">1247.089286814095</cx:pt>
          <cx:pt idx="228">1284.2306500215209</cx:pt>
          <cx:pt idx="229">1225.558612046226</cx:pt>
          <cx:pt idx="230">1308.2766563326149</cx:pt>
          <cx:pt idx="231">1181.736621464579</cx:pt>
          <cx:pt idx="232">1208.1263642916761</cx:pt>
          <cx:pt idx="233">1302.703808445762</cx:pt>
          <cx:pt idx="234">1223.8162174421359</cx:pt>
          <cx:pt idx="235">1133.50418542683</cx:pt>
          <cx:pt idx="236">1237.402376756221</cx:pt>
          <cx:pt idx="237">1222.473689201353</cx:pt>
          <cx:pt idx="238">1155.516517136489</cx:pt>
          <cx:pt idx="239">1301.1937164510109</cx:pt>
          <cx:pt idx="240">1215.5213357327279</cx:pt>
          <cx:pt idx="241">1188.970153794502</cx:pt>
          <cx:pt idx="242">1204.304109786847</cx:pt>
          <cx:pt idx="243">1263.9118546671809</cx:pt>
          <cx:pt idx="244">1323.645641709244</cx:pt>
          <cx:pt idx="245">1161.1339119296169</cx:pt>
          <cx:pt idx="246">1230.783391284019</cx:pt>
          <cx:pt idx="247">1172.1760314190981</cx:pt>
          <cx:pt idx="248">1318.792667240908</cx:pt>
          <cx:pt idx="249">1268.285663221581</cx:pt>
          <cx:pt idx="250">1251.8929053688771</cx:pt>
          <cx:pt idx="251">1307.418733054586</cx:pt>
          <cx:pt idx="252">1217.820888875706</cx:pt>
          <cx:pt idx="253">1291.5660276586991</cx:pt>
          <cx:pt idx="254">1083.6225279565631</cx:pt>
          <cx:pt idx="255">1162.0115663742499</cx:pt>
          <cx:pt idx="256">1258.084778384429</cx:pt>
          <cx:pt idx="257">1035.453714013149</cx:pt>
          <cx:pt idx="258">1195.1210308903251</cx:pt>
          <cx:pt idx="259">1157.1889359288759</cx:pt>
          <cx:pt idx="260">1170.0408360574811</cx:pt>
          <cx:pt idx="261">1174.2322621352421</cx:pt>
          <cx:pt idx="262">1239.3899730500179</cx:pt>
          <cx:pt idx="263">1122.566333308077</cx:pt>
          <cx:pt idx="264">1270.4191410814469</cx:pt>
          <cx:pt idx="265">1215.7385492207859</cx:pt>
          <cx:pt idx="266">1332.2981160689601</cx:pt>
          <cx:pt idx="267">1318.756835313583</cx:pt>
          <cx:pt idx="268">1356.664735143677</cx:pt>
          <cx:pt idx="269">1266.1763803617371</cx:pt>
          <cx:pt idx="270">1198.147628143684</cx:pt>
          <cx:pt idx="271">1238.398790079108</cx:pt>
          <cx:pt idx="272">1241.963556316025</cx:pt>
          <cx:pt idx="273">1274.801845839025</cx:pt>
          <cx:pt idx="274">1203.914979512929</cx:pt>
          <cx:pt idx="275">1359.4838243336401</cx:pt>
          <cx:pt idx="276">1183.968476977049</cx:pt>
          <cx:pt idx="277">1200.0978768322041</cx:pt>
          <cx:pt idx="278">1262.9268254531801</cx:pt>
          <cx:pt idx="279">1299.1777572987201</cx:pt>
          <cx:pt idx="280">1216.1018251252019</cx:pt>
          <cx:pt idx="281">1218.0520721072539</cx:pt>
          <cx:pt idx="282">1192.158389432157</cx:pt>
          <cx:pt idx="283">1332.140266430144</cx:pt>
          <cx:pt idx="284">1253.4389724320069</cx:pt>
          <cx:pt idx="285">1252.963056822831</cx:pt>
          <cx:pt idx="286">1167.9687380690621</cx:pt>
          <cx:pt idx="287">1190.735848158906</cx:pt>
          <cx:pt idx="288">1147.222992027996</cx:pt>
          <cx:pt idx="289">1194.284782348353</cx:pt>
          <cx:pt idx="290">1151.5400531100449</cx:pt>
          <cx:pt idx="291">1145.0833008982811</cx:pt>
          <cx:pt idx="292">1216.732547214225</cx:pt>
          <cx:pt idx="293">1224.7107800119061</cx:pt>
          <cx:pt idx="294">1220.4620417698029</cx:pt>
          <cx:pt idx="295">1251.3761952083839</cx:pt>
          <cx:pt idx="296">1204.678901544891</cx:pt>
          <cx:pt idx="297">1237.2794700486461</cx:pt>
          <cx:pt idx="298">1173.617090024278</cx:pt>
          <cx:pt idx="299">1300.9303640963701</cx:pt>
          <cx:pt idx="300">1033.570218906267</cx:pt>
          <cx:pt idx="301">1199.228040949507</cx:pt>
          <cx:pt idx="302">1135.622390727603</cx:pt>
          <cx:pt idx="303">1237.259084754241</cx:pt>
          <cx:pt idx="304">1161.571590378755</cx:pt>
          <cx:pt idx="305">1189.299110213982</cx:pt>
          <cx:pt idx="306">1203.821187803863</cx:pt>
          <cx:pt idx="307">1256.361729201936</cx:pt>
          <cx:pt idx="308">1248.5359648465501</cx:pt>
          <cx:pt idx="309">1302.4994028296981</cx:pt>
          <cx:pt idx="310">1226.09827540077</cx:pt>
          <cx:pt idx="311">1256.5278333804131</cx:pt>
          <cx:pt idx="312">1152.119522348989</cx:pt>
          <cx:pt idx="313">1185.7510123693351</cx:pt>
          <cx:pt idx="314">1196.3403512815521</cx:pt>
          <cx:pt idx="315">1273.285031222573</cx:pt>
          <cx:pt idx="316">1266.6222296274459</cx:pt>
          <cx:pt idx="317">1336.6779968246669</cx:pt>
          <cx:pt idx="318">1240.36263383649</cx:pt>
          <cx:pt idx="319">1226.865538927153</cx:pt>
          <cx:pt idx="320">1238.544051782927</cx:pt>
          <cx:pt idx="321">1172.7342737476661</cx:pt>
          <cx:pt idx="322">1214.3832069120731</cx:pt>
          <cx:pt idx="323">1192.9671019437119</cx:pt>
          <cx:pt idx="324">1257.8033639092239</cx:pt>
          <cx:pt idx="325">1327.4185152946341</cx:pt>
          <cx:pt idx="326">1269.739404758132</cx:pt>
          <cx:pt idx="327">1252.922330622562</cx:pt>
          <cx:pt idx="328">1229.6654575991449</cx:pt>
          <cx:pt idx="329">1188.573380024879</cx:pt>
          <cx:pt idx="330">1165.639126089028</cx:pt>
          <cx:pt idx="331">1080.088621587782</cx:pt>
          <cx:pt idx="332">1271.711661920426</cx:pt>
          <cx:pt idx="333">1235.637757923356</cx:pt>
          <cx:pt idx="334">1262.4853101394781</cx:pt>
          <cx:pt idx="335">1171.0169773051839</cx:pt>
          <cx:pt idx="336">1246.0351492519681</cx:pt>
          <cx:pt idx="337">1244.6049358298619</cx:pt>
          <cx:pt idx="338">1202.5612976041509</cx:pt>
          <cx:pt idx="339">1316.1402728504561</cx:pt>
          <cx:pt idx="340">1315.3392972067061</cx:pt>
          <cx:pt idx="341">1229.1371627532201</cx:pt>
          <cx:pt idx="342">1271.878424587205</cx:pt>
          <cx:pt idx="343">1246.400747428695</cx:pt>
          <cx:pt idx="344">1210.150264827595</cx:pt>
          <cx:pt idx="345">1258.4636550545731</cx:pt>
          <cx:pt idx="346">1108.6308547585879</cx:pt>
          <cx:pt idx="347">1119.241595031481</cx:pt>
          <cx:pt idx="348">1278.2912591359759</cx:pt>
          <cx:pt idx="349">1317.1601958725471</cx:pt>
          <cx:pt idx="350">1336.066041400278</cx:pt>
          <cx:pt idx="351">1339.285753417988</cx:pt>
          <cx:pt idx="352">1263.968902181474</cx:pt>
          <cx:pt idx="353">1184.255797720177</cx:pt>
          <cx:pt idx="354">1204.235736064619</cx:pt>
          <cx:pt idx="355">1181.918140528596</cx:pt>
          <cx:pt idx="356">1145.814304959247</cx:pt>
          <cx:pt idx="357">1202.0071881088049</cx:pt>
          <cx:pt idx="358">1175.231218643883</cx:pt>
          <cx:pt idx="359">1350.220722487232</cx:pt>
          <cx:pt idx="360">1241.5940021102899</cx:pt>
          <cx:pt idx="361">1117.079785288536</cx:pt>
          <cx:pt idx="362">1280.80281775153</cx:pt>
          <cx:pt idx="363">1299.0459375727501</cx:pt>
          <cx:pt idx="364">1163.168459242607</cx:pt>
          <cx:pt idx="365">1308.3656006388289</cx:pt>
          <cx:pt idx="366">1209.8064035011389</cx:pt>
          <cx:pt idx="367">1255.727731859379</cx:pt>
          <cx:pt idx="368">1108.6309300439359</cx:pt>
          <cx:pt idx="369">1171.923143967686</cx:pt>
          <cx:pt idx="370">1221.583587925227</cx:pt>
          <cx:pt idx="371">1135.609792076046</cx:pt>
          <cx:pt idx="372">1277.301957136988</cx:pt>
          <cx:pt idx="373">1208.440711003326</cx:pt>
          <cx:pt idx="374">1303.7308388857739</cx:pt>
          <cx:pt idx="375">1199.11501088246</cx:pt>
          <cx:pt idx="376">1208.713979503782</cx:pt>
          <cx:pt idx="377">1272.768224450024</cx:pt>
          <cx:pt idx="378">1194.324777699228</cx:pt>
          <cx:pt idx="379">1270.0763301136651</cx:pt>
          <cx:pt idx="380">1251.427594287577</cx:pt>
          <cx:pt idx="381">1119.724580140359</cx:pt>
          <cx:pt idx="382">1244.0905710908089</cx:pt>
          <cx:pt idx="383">1206.9070209323679</cx:pt>
          <cx:pt idx="384">1212.6284723144281</cx:pt>
          <cx:pt idx="385">1272.575683606005</cx:pt>
          <cx:pt idx="386">1155.857289588527</cx:pt>
          <cx:pt idx="387">1091.6407791205031</cx:pt>
          <cx:pt idx="388">1196.2138277165959</cx:pt>
          <cx:pt idx="389">1229.5980680751511</cx:pt>
          <cx:pt idx="390">1290.657778415173</cx:pt>
          <cx:pt idx="391">1231.9415395283529</cx:pt>
          <cx:pt idx="392">1118.1314424831171</cx:pt>
          <cx:pt idx="393">1249.5549801756929</cx:pt>
          <cx:pt idx="394">1266.5586911256751</cx:pt>
          <cx:pt idx="395">1303.3466113691691</cx:pt>
          <cx:pt idx="396">1256.2802651787181</cx:pt>
          <cx:pt idx="397">1242.0171093204381</cx:pt>
          <cx:pt idx="398">1085.014517564538</cx:pt>
          <cx:pt idx="399">1176.089224771752</cx:pt>
          <cx:pt idx="400">1296.6702178264411</cx:pt>
          <cx:pt idx="401">1281.230779210257</cx:pt>
          <cx:pt idx="402">1163.6503591526121</cx:pt>
          <cx:pt idx="403">1175.0457095325021</cx:pt>
          <cx:pt idx="404">1220.89198484296</cx:pt>
          <cx:pt idx="405">1275.9262908614651</cx:pt>
          <cx:pt idx="406">1261.615935806574</cx:pt>
          <cx:pt idx="407">1289.538387791177</cx:pt>
          <cx:pt idx="408">1140.027972499973</cx:pt>
          <cx:pt idx="409">1227.809351670506</cx:pt>
          <cx:pt idx="410">1199.486853327928</cx:pt>
          <cx:pt idx="411">1345.842964273249</cx:pt>
          <cx:pt idx="412">1234.1682111563639</cx:pt>
          <cx:pt idx="413">1145.7153100272631</cx:pt>
          <cx:pt idx="414">1135.5725579135189</cx:pt>
          <cx:pt idx="415">1183.705903178748</cx:pt>
          <cx:pt idx="416">1233.845223118534</cx:pt>
          <cx:pt idx="417">1271.706314971721</cx:pt>
          <cx:pt idx="418">1193.2314736435351</cx:pt>
          <cx:pt idx="419">1214.09940204503</cx:pt>
          <cx:pt idx="420">1136.6802492988641</cx:pt>
          <cx:pt idx="421">1228.0494526329001</cx:pt>
          <cx:pt idx="422">1220.684382868789</cx:pt>
          <cx:pt idx="423">1280.546116316596</cx:pt>
          <cx:pt idx="424">1206.7347622109521</cx:pt>
          <cx:pt idx="425">1274.1485081089379</cx:pt>
          <cx:pt idx="426">1246.284294745966</cx:pt>
          <cx:pt idx="427">1121.121795284248</cx:pt>
          <cx:pt idx="428">1301.1033067319349</cx:pt>
          <cx:pt idx="429">1181.7913559438739</cx:pt>
          <cx:pt idx="430">1207.8124473265029</cx:pt>
          <cx:pt idx="431">1231.5480025387999</cx:pt>
          <cx:pt idx="432">1193.7867283283949</cx:pt>
          <cx:pt idx="433">1223.4875678979299</cx:pt>
          <cx:pt idx="434">1156.900387618128</cx:pt>
          <cx:pt idx="435">1192.929868826559</cx:pt>
          <cx:pt idx="436">1305.77370932795</cx:pt>
          <cx:pt idx="437">1246.5499627329129</cx:pt>
          <cx:pt idx="438">1193.3823121594501</cx:pt>
          <cx:pt idx="439">1330.413555284229</cx:pt>
          <cx:pt idx="440">1188.8860456708919</cx:pt>
          <cx:pt idx="441">1223.2385842418109</cx:pt>
          <cx:pt idx="442">1417.03298750608</cx:pt>
          <cx:pt idx="443">1175.6585762003069</cx:pt>
          <cx:pt idx="444">1274.4328764942711</cx:pt>
          <cx:pt idx="445">1186.024157608887</cx:pt>
          <cx:pt idx="446">1208.3203067505169</cx:pt>
          <cx:pt idx="447">1204.2423534731349</cx:pt>
          <cx:pt idx="448">1246.804770531432</cx:pt>
          <cx:pt idx="449">1258.866117621875</cx:pt>
          <cx:pt idx="450">1253.3552930017161</cx:pt>
          <cx:pt idx="451">1272.1543965983981</cx:pt>
          <cx:pt idx="452">1222.536810627561</cx:pt>
          <cx:pt idx="453">1272.1241586494571</cx:pt>
          <cx:pt idx="454">1213.677310159298</cx:pt>
          <cx:pt idx="455">1139.908672451948</cx:pt>
          <cx:pt idx="456">1251.198699649226</cx:pt>
          <cx:pt idx="457">1220.812322952519</cx:pt>
          <cx:pt idx="458">1175.980490730831</cx:pt>
          <cx:pt idx="459">1353.1691492318701</cx:pt>
          <cx:pt idx="460">1398.014608076244</cx:pt>
          <cx:pt idx="461">1147.088824714315</cx:pt>
          <cx:pt idx="462">1301.914206908571</cx:pt>
          <cx:pt idx="463">1224.5700296602661</cx:pt>
          <cx:pt idx="464">1260.338638489163</cx:pt>
          <cx:pt idx="465">1340.0108471173439</cx:pt>
          <cx:pt idx="466">1121.6936139687789</cx:pt>
          <cx:pt idx="467">1235.43349346945</cx:pt>
          <cx:pt idx="468">1227.8464109832071</cx:pt>
          <cx:pt idx="469">1258.9933251237751</cx:pt>
          <cx:pt idx="470">1345.460175484407</cx:pt>
          <cx:pt idx="471">1265.3122623209231</cx:pt>
          <cx:pt idx="472">1217.2420111582669</cx:pt>
          <cx:pt idx="473">1367.5376570280209</cx:pt>
          <cx:pt idx="474">1287.5528680286429</cx:pt>
          <cx:pt idx="475">1256.4913327010679</cx:pt>
          <cx:pt idx="476">1242.677038787195</cx:pt>
          <cx:pt idx="477">1177.6946836950899</cx:pt>
          <cx:pt idx="478">1206.9957927477881</cx:pt>
          <cx:pt idx="479">1274.267934470927</cx:pt>
          <cx:pt idx="480">1229.096270565532</cx:pt>
          <cx:pt idx="481">1185.8891414061441</cx:pt>
          <cx:pt idx="482">1288.3822220090269</cx:pt>
          <cx:pt idx="483">1230.1539631451999</cx:pt>
          <cx:pt idx="484">1226.5974854181641</cx:pt>
          <cx:pt idx="485">1267.7448476084669</cx:pt>
          <cx:pt idx="486">1232.991515809226</cx:pt>
          <cx:pt idx="487">1298.758068036539</cx:pt>
          <cx:pt idx="488">1316.012092358915</cx:pt>
          <cx:pt idx="489">1207.059759362159</cx:pt>
          <cx:pt idx="490">1202.076133070153</cx:pt>
          <cx:pt idx="491">1232.766379336515</cx:pt>
          <cx:pt idx="492">1301.6833037107799</cx:pt>
          <cx:pt idx="493">1160.7174249787181</cx:pt>
          <cx:pt idx="494">1190.98727818306</cx:pt>
          <cx:pt idx="495">1189.862276177334</cx:pt>
          <cx:pt idx="496">1233.7088109201659</cx:pt>
          <cx:pt idx="497">1327.224637109372</cx:pt>
          <cx:pt idx="498">1268.128945802898</cx:pt>
          <cx:pt idx="499">1236.522277674515</cx:pt>
          <cx:pt idx="500">1135.0464569508431</cx:pt>
          <cx:pt idx="501">1219.4726712653869</cx:pt>
          <cx:pt idx="502">1284.946424494877</cx:pt>
          <cx:pt idx="503">1314.202835638461</cx:pt>
          <cx:pt idx="504">1218.505680125455</cx:pt>
          <cx:pt idx="505">1281.575149111678</cx:pt>
          <cx:pt idx="506">1185.1210602472199</cx:pt>
          <cx:pt idx="507">1200.421299233421</cx:pt>
          <cx:pt idx="508">1332.426348358219</cx:pt>
          <cx:pt idx="509">1208.4709744493739</cx:pt>
          <cx:pt idx="510">1214.4599653320181</cx:pt>
          <cx:pt idx="511">1190.5587110898</cx:pt>
          <cx:pt idx="512">1106.214162527137</cx:pt>
          <cx:pt idx="513">1315.6313249603611</cx:pt>
          <cx:pt idx="514">1250.150492043239</cx:pt>
          <cx:pt idx="515">1194.2054285476549</cx:pt>
          <cx:pt idx="516">1348.7471693333371</cx:pt>
          <cx:pt idx="517">1225.952987306363</cx:pt>
          <cx:pt idx="518">1293.7347845205891</cx:pt>
          <cx:pt idx="519">1288.5079956189991</cx:pt>
          <cx:pt idx="520">1138.8898404783199</cx:pt>
          <cx:pt idx="521">1188.124543134722</cx:pt>
          <cx:pt idx="522">1290.685490180424</cx:pt>
          <cx:pt idx="523">1232.1390704616169</cx:pt>
          <cx:pt idx="524">1289.1941268588121</cx:pt>
          <cx:pt idx="525">1110.121369939809</cx:pt>
          <cx:pt idx="526">1170.6730987348139</cx:pt>
          <cx:pt idx="527">1220.460777119393</cx:pt>
          <cx:pt idx="528">1240.9469544618059</cx:pt>
          <cx:pt idx="529">1221.379707763562</cx:pt>
          <cx:pt idx="530">1223.7404863951699</cx:pt>
          <cx:pt idx="531">1369.8822018957451</cx:pt>
          <cx:pt idx="532">1256.6518275648791</cx:pt>
          <cx:pt idx="533">1152.621580595378</cx:pt>
          <cx:pt idx="534">1314.7380366185789</cx:pt>
          <cx:pt idx="535">1280.517793193141</cx:pt>
          <cx:pt idx="536">1226.1350796442539</cx:pt>
          <cx:pt idx="537">1164.9213201742409</cx:pt>
          <cx:pt idx="538">1179.5516966885609</cx:pt>
          <cx:pt idx="539">1187.049316784693</cx:pt>
          <cx:pt idx="540">1309.8273888557269</cx:pt>
          <cx:pt idx="541">1169.2216971671039</cx:pt>
          <cx:pt idx="542">1202.861051206205</cx:pt>
          <cx:pt idx="543">1242.5798963687471</cx:pt>
          <cx:pt idx="544">1221.4227547371311</cx:pt>
          <cx:pt idx="545">1283.919201938179</cx:pt>
          <cx:pt idx="546">1192.9715334681609</cx:pt>
          <cx:pt idx="547">1201.1222497166241</cx:pt>
          <cx:pt idx="548">1246.1968441624699</cx:pt>
          <cx:pt idx="549">1256.673785375619</cx:pt>
          <cx:pt idx="550">1200.6343943789541</cx:pt>
          <cx:pt idx="551">1289.4222798406349</cx:pt>
          <cx:pt idx="552">1160.469847424125</cx:pt>
          <cx:pt idx="553">1318.3193715466421</cx:pt>
          <cx:pt idx="554">1197.4882701886299</cx:pt>
          <cx:pt idx="555">1219.444172271697</cx:pt>
          <cx:pt idx="556">1263.028627250302</cx:pt>
          <cx:pt idx="557">1191.2734661663101</cx:pt>
          <cx:pt idx="558">1139.026245269742</cx:pt>
          <cx:pt idx="559">1292.7706624400801</cx:pt>
          <cx:pt idx="560">1215.155540147091</cx:pt>
          <cx:pt idx="561">1245.7784692668249</cx:pt>
          <cx:pt idx="562">1203.5144612310719</cx:pt>
          <cx:pt idx="563">1177.644370800934</cx:pt>
          <cx:pt idx="564">1179.870144202147</cx:pt>
          <cx:pt idx="565">1263.793494539419</cx:pt>
          <cx:pt idx="566">1267.0546358516731</cx:pt>
          <cx:pt idx="567">1277.1456183619889</cx:pt>
          <cx:pt idx="568">1267.3857063540249</cx:pt>
          <cx:pt idx="569">1169.6894003720449</cx:pt>
          <cx:pt idx="570">1272.7482172962741</cx:pt>
          <cx:pt idx="571">1181.7038601898651</cx:pt>
          <cx:pt idx="572">1144.8523745276621</cx:pt>
          <cx:pt idx="573">1147.027254620019</cx:pt>
          <cx:pt idx="574">1184.334876754597</cx:pt>
          <cx:pt idx="575">1158.5216402610861</cx:pt>
          <cx:pt idx="576">1152.066804256923</cx:pt>
          <cx:pt idx="577">1159.842818843201</cx:pt>
          <cx:pt idx="578">1304.28273564913</cx:pt>
          <cx:pt idx="579">1211.710747318522</cx:pt>
          <cx:pt idx="580">1200.223692131314</cx:pt>
          <cx:pt idx="581">1254.5779077736529</cx:pt>
          <cx:pt idx="582">1210.3849819096249</cx:pt>
          <cx:pt idx="583">1239.9533220559799</cx:pt>
          <cx:pt idx="584">1173.368769968112</cx:pt>
          <cx:pt idx="585">1303.1907290477341</cx:pt>
          <cx:pt idx="586">1290.5269660047661</cx:pt>
          <cx:pt idx="587">1336.1110847540831</cx:pt>
          <cx:pt idx="588">1225.51256656389</cx:pt>
          <cx:pt idx="589">1218.670584800492</cx:pt>
          <cx:pt idx="590">1255.0133138807621</cx:pt>
          <cx:pt idx="591">1152.7369363072271</cx:pt>
          <cx:pt idx="592">1306.398796071089</cx:pt>
          <cx:pt idx="593">1117.505100607948</cx:pt>
          <cx:pt idx="594">1212.035519759876</cx:pt>
          <cx:pt idx="595">1263.2455659109801</cx:pt>
          <cx:pt idx="596">1201.6465450058579</cx:pt>
          <cx:pt idx="597">1181.186759129343</cx:pt>
          <cx:pt idx="598">1153.3648094144951</cx:pt>
          <cx:pt idx="599">1228.227614153104</cx:pt>
          <cx:pt idx="600">1157.743263463314</cx:pt>
          <cx:pt idx="601">1254.3735910679179</cx:pt>
          <cx:pt idx="602">1307.3486031289301</cx:pt>
          <cx:pt idx="603">1205.157953090124</cx:pt>
          <cx:pt idx="604">1084.573344547767</cx:pt>
          <cx:pt idx="605">1193.873450431902</cx:pt>
          <cx:pt idx="606">1314.9434725083411</cx:pt>
          <cx:pt idx="607">1231.4519152451339</cx:pt>
          <cx:pt idx="608">1260.795553049521</cx:pt>
          <cx:pt idx="609">1208.932091165437</cx:pt>
          <cx:pt idx="610">1231.8179490107241</cx:pt>
          <cx:pt idx="611">1131.055523980755</cx:pt>
          <cx:pt idx="612">1245.526977461494</cx:pt>
          <cx:pt idx="613">1223.3342062763579</cx:pt>
          <cx:pt idx="614">1231.056238947353</cx:pt>
          <cx:pt idx="615">1264.029472249528</cx:pt>
          <cx:pt idx="616">1348.290557457035</cx:pt>
          <cx:pt idx="617">1209.270275983735</cx:pt>
          <cx:pt idx="618">1304.8244172316049</cx:pt>
          <cx:pt idx="619">1262.8274739923679</cx:pt>
          <cx:pt idx="620">1192.3449480457159</cx:pt>
          <cx:pt idx="621">1251.719672505315</cx:pt>
          <cx:pt idx="622">1069.790254661905</cx:pt>
          <cx:pt idx="623">1136.847038548698</cx:pt>
          <cx:pt idx="624">1132.5115568804219</cx:pt>
          <cx:pt idx="625">1152.407790409957</cx:pt>
          <cx:pt idx="626">1136.2651883343151</cx:pt>
          <cx:pt idx="627">1104.0872720739869</cx:pt>
          <cx:pt idx="628">1141.0677019837681</cx:pt>
          <cx:pt idx="629">1170.3719234486259</cx:pt>
          <cx:pt idx="630">1289.2972238332609</cx:pt>
          <cx:pt idx="631">1209.438377757433</cx:pt>
          <cx:pt idx="632">1210.8871326668259</cx:pt>
          <cx:pt idx="633">1238.808441747695</cx:pt>
          <cx:pt idx="634">1209.701684005496</cx:pt>
          <cx:pt idx="635">1233.55595147492</cx:pt>
          <cx:pt idx="636">1208.3490281393349</cx:pt>
          <cx:pt idx="637">1110.3728195825349</cx:pt>
          <cx:pt idx="638">1205.6249735378519</cx:pt>
          <cx:pt idx="639">1216.8439072673721</cx:pt>
          <cx:pt idx="640">1181.8703244765741</cx:pt>
          <cx:pt idx="641">1207.6541823456139</cx:pt>
          <cx:pt idx="642">1315.4322951849269</cx:pt>
          <cx:pt idx="643">1222.360627877737</cx:pt>
          <cx:pt idx="644">1222.7898551740141</cx:pt>
          <cx:pt idx="645">1152.3540404371199</cx:pt>
          <cx:pt idx="646">1173.6138858370371</cx:pt>
          <cx:pt idx="647">1268.782528476637</cx:pt>
          <cx:pt idx="648">1176.694406601938</cx:pt>
          <cx:pt idx="649">1203.779234028869</cx:pt>
          <cx:pt idx="650">1156.855573097268</cx:pt>
          <cx:pt idx="651">1217.415224501555</cx:pt>
          <cx:pt idx="652">1194.274873540968</cx:pt>
          <cx:pt idx="653">1255.8012564515591</cx:pt>
          <cx:pt idx="654">1196.44838022064</cx:pt>
          <cx:pt idx="655">1173.3055183470619</cx:pt>
          <cx:pt idx="656">1153.645091399386</cx:pt>
          <cx:pt idx="657">1314.4403934865229</cx:pt>
          <cx:pt idx="658">1197.069618359825</cx:pt>
          <cx:pt idx="659">1160.587636616614</cx:pt>
          <cx:pt idx="660">1247.152924452238</cx:pt>
          <cx:pt idx="661">1316.28159512355</cx:pt>
          <cx:pt idx="662">1152.2792792306641</cx:pt>
          <cx:pt idx="663">1208.415258709535</cx:pt>
          <cx:pt idx="664">1283.1856081226649</cx:pt>
          <cx:pt idx="665">1203.4162414105349</cx:pt>
          <cx:pt idx="666">1322.8233721046049</cx:pt>
          <cx:pt idx="667">1198.137333393488</cx:pt>
          <cx:pt idx="668">1144.0943200293091</cx:pt>
          <cx:pt idx="669">1277.944325892541</cx:pt>
          <cx:pt idx="670">1280.70395186109</cx:pt>
          <cx:pt idx="671">1199.053291626265</cx:pt>
          <cx:pt idx="672">1171.0983738778059</cx:pt>
          <cx:pt idx="673">1137.2968188277921</cx:pt>
          <cx:pt idx="674">1128.6272533678821</cx:pt>
          <cx:pt idx="675">1209.6585928136251</cx:pt>
          <cx:pt idx="676">1308.436994812655</cx:pt>
          <cx:pt idx="677">1127.46072245237</cx:pt>
          <cx:pt idx="678">1186.080491490113</cx:pt>
          <cx:pt idx="679">1200.271231656355</cx:pt>
          <cx:pt idx="680">1202.1169390547491</cx:pt>
          <cx:pt idx="681">1178.58489707539</cx:pt>
          <cx:pt idx="682">1214.039783802988</cx:pt>
          <cx:pt idx="683">1238.1664827399591</cx:pt>
          <cx:pt idx="684">1159.4803829196669</cx:pt>
          <cx:pt idx="685">1228.4925421610089</cx:pt>
          <cx:pt idx="686">1270.6749887642779</cx:pt>
          <cx:pt idx="687">1207.9145500234081</cx:pt>
          <cx:pt idx="688">1268.657873361748</cx:pt>
          <cx:pt idx="689">1159.373652921648</cx:pt>
          <cx:pt idx="690">1283.894649446363</cx:pt>
          <cx:pt idx="691">1258.9590439517131</cx:pt>
          <cx:pt idx="692">1120.869422754673</cx:pt>
          <cx:pt idx="693">1215.0156981085411</cx:pt>
          <cx:pt idx="694">1346.3100720247751</cx:pt>
          <cx:pt idx="695">1106.4035722705951</cx:pt>
          <cx:pt idx="696">1291.635699097619</cx:pt>
          <cx:pt idx="697">1369.6921782238401</cx:pt>
          <cx:pt idx="698">1136.522467870411</cx:pt>
          <cx:pt idx="699">1309.8884486452889</cx:pt>
          <cx:pt idx="700">1271.0085404985671</cx:pt>
          <cx:pt idx="701">1209.775185210276</cx:pt>
          <cx:pt idx="702">1273.728719387012</cx:pt>
          <cx:pt idx="703">1256.6581503075231</cx:pt>
          <cx:pt idx="704">1381.913124655661</cx:pt>
          <cx:pt idx="705">1206.059217629522</cx:pt>
          <cx:pt idx="706">1209.3262234295</cx:pt>
          <cx:pt idx="707">1266.0710461037399</cx:pt>
          <cx:pt idx="708">1131.2223757633451</cx:pt>
          <cx:pt idx="709">1177.8251608304579</cx:pt>
          <cx:pt idx="710">1242.714653104086</cx:pt>
          <cx:pt idx="711">1259.2727664764859</cx:pt>
          <cx:pt idx="712">1196.1002837086301</cx:pt>
          <cx:pt idx="713">1196.6337501217679</cx:pt>
          <cx:pt idx="714">1263.0116090385161</cx:pt>
          <cx:pt idx="715">1285.761836822616</cx:pt>
          <cx:pt idx="716">1229.378869081052</cx:pt>
          <cx:pt idx="717">1107.207410645562</cx:pt>
          <cx:pt idx="718">1201.6171486250339</cx:pt>
          <cx:pt idx="719">1220.5830940741421</cx:pt>
          <cx:pt idx="720">1320.008520446544</cx:pt>
          <cx:pt idx="721">1325.31661870281</cx:pt>
          <cx:pt idx="722">1225.555219399276</cx:pt>
          <cx:pt idx="723">1387.074206651969</cx:pt>
          <cx:pt idx="724">1205.651935647536</cx:pt>
          <cx:pt idx="725">1167.041940698922</cx:pt>
          <cx:pt idx="726">1128.463650643037</cx:pt>
          <cx:pt idx="727">1248.772071480377</cx:pt>
          <cx:pt idx="728">1310.7965363079591</cx:pt>
          <cx:pt idx="729">1212.7730642146651</cx:pt>
          <cx:pt idx="730">1247.0025600600991</cx:pt>
          <cx:pt idx="731">1162.895945115336</cx:pt>
          <cx:pt idx="732">1208.112997094976</cx:pt>
          <cx:pt idx="733">1192.871609247296</cx:pt>
          <cx:pt idx="734">1137.3974819600339</cx:pt>
          <cx:pt idx="735">1294.1298164205759</cx:pt>
          <cx:pt idx="736">1335.696912660846</cx:pt>
          <cx:pt idx="737">1181.251743845605</cx:pt>
          <cx:pt idx="738">1207.340527730383</cx:pt>
          <cx:pt idx="739">1326.0910280457811</cx:pt>
          <cx:pt idx="740">1284.43363431988</cx:pt>
          <cx:pt idx="741">1249.427980198936</cx:pt>
          <cx:pt idx="742">1169.468154652179</cx:pt>
          <cx:pt idx="743">1190.354437513852</cx:pt>
          <cx:pt idx="744">1315.801126566417</cx:pt>
          <cx:pt idx="745">1084.285431871235</cx:pt>
          <cx:pt idx="746">1187.454093193242</cx:pt>
          <cx:pt idx="747">1190.183033598134</cx:pt>
          <cx:pt idx="748">1247.132342916809</cx:pt>
          <cx:pt idx="749">1131.660336469846</cx:pt>
          <cx:pt idx="750">1206.2585366266801</cx:pt>
          <cx:pt idx="751">1171.219528729531</cx:pt>
          <cx:pt idx="752">1271.662147341425</cx:pt>
          <cx:pt idx="753">1207.844968303069</cx:pt>
          <cx:pt idx="754">1225.4025510317731</cx:pt>
          <cx:pt idx="755">1320.797204871199</cx:pt>
          <cx:pt idx="756">1259.6329678607999</cx:pt>
          <cx:pt idx="757">1211.0399059269089</cx:pt>
          <cx:pt idx="758">1276.821520317812</cx:pt>
          <cx:pt idx="759">1188.0197117867431</cx:pt>
          <cx:pt idx="760">1251.0474017764459</cx:pt>
          <cx:pt idx="761">1253.6428200752171</cx:pt>
          <cx:pt idx="762">1322.6258376411649</cx:pt>
          <cx:pt idx="763">1281.911534877054</cx:pt>
          <cx:pt idx="764">1295.3384423644391</cx:pt>
          <cx:pt idx="765">1157.784736861483</cx:pt>
          <cx:pt idx="766">1232.8777098158121</cx:pt>
          <cx:pt idx="767">1153.589104803664</cx:pt>
          <cx:pt idx="768">1336.49496772202</cx:pt>
          <cx:pt idx="769">1313.152017740892</cx:pt>
          <cx:pt idx="770">1194.8388746036489</cx:pt>
          <cx:pt idx="771">1221.298812559367</cx:pt>
          <cx:pt idx="772">1319.730613614317</cx:pt>
          <cx:pt idx="773">1205.6154633314741</cx:pt>
          <cx:pt idx="774">1146.7808862837289</cx:pt>
          <cx:pt idx="775">1218.444072203386</cx:pt>
          <cx:pt idx="776">1216.7642986547589</cx:pt>
          <cx:pt idx="777">1236.387313542775</cx:pt>
          <cx:pt idx="778">1193.442219381481</cx:pt>
          <cx:pt idx="779">1268.2307342436529</cx:pt>
          <cx:pt idx="780">1171.519398707459</cx:pt>
          <cx:pt idx="781">1268.3272602501199</cx:pt>
          <cx:pt idx="782">1261.0344473156281</cx:pt>
          <cx:pt idx="783">1100.4144332586291</cx:pt>
          <cx:pt idx="784">1101.368823327892</cx:pt>
          <cx:pt idx="785">1268.3427486616911</cx:pt>
          <cx:pt idx="786">1270.8694376274841</cx:pt>
          <cx:pt idx="787">1168.6982708592261</cx:pt>
          <cx:pt idx="788">1187.5301285071901</cx:pt>
          <cx:pt idx="789">1305.373837369295</cx:pt>
          <cx:pt idx="790">1122.251011914308</cx:pt>
          <cx:pt idx="791">1338.1198497613359</cx:pt>
          <cx:pt idx="792">1106.9019700423801</cx:pt>
          <cx:pt idx="793">1226.0012978771381</cx:pt>
          <cx:pt idx="794">1244.6402842529831</cx:pt>
          <cx:pt idx="795">1312.278674437669</cx:pt>
          <cx:pt idx="796">1239.13196664817</cx:pt>
          <cx:pt idx="797">1234.4362629445041</cx:pt>
          <cx:pt idx="798">1238.4835456367639</cx:pt>
          <cx:pt idx="799">1046.9885436682871</cx:pt>
          <cx:pt idx="800">1245.6520093558761</cx:pt>
          <cx:pt idx="801">1213.8539180245971</cx:pt>
          <cx:pt idx="802">1253.2010172735529</cx:pt>
          <cx:pt idx="803">1220.111613582432</cx:pt>
          <cx:pt idx="804">1226.7916142711499</cx:pt>
          <cx:pt idx="805">1221.854158124411</cx:pt>
          <cx:pt idx="806">1273.833659774695</cx:pt>
          <cx:pt idx="807">1243.4393144280839</cx:pt>
          <cx:pt idx="808">1154.701572091258</cx:pt>
          <cx:pt idx="809">1256.274522372036</cx:pt>
          <cx:pt idx="810">1188.299075068481</cx:pt>
          <cx:pt idx="811">1113.0431913683831</cx:pt>
          <cx:pt idx="812">1125.153395746504</cx:pt>
          <cx:pt idx="813">1217.4378186489521</cx:pt>
          <cx:pt idx="814">1189.8695870726331</cx:pt>
          <cx:pt idx="815">1261.830399528717</cx:pt>
          <cx:pt idx="816">1208.800687502496</cx:pt>
          <cx:pt idx="817">1267.5033445022921</cx:pt>
          <cx:pt idx="818">1295.302695012027</cx:pt>
          <cx:pt idx="819">1156.7370960821229</cx:pt>
          <cx:pt idx="820">1283.3151248479051</cx:pt>
          <cx:pt idx="821">1248.2729235803549</cx:pt>
          <cx:pt idx="822">1113.83527786373</cx:pt>
          <cx:pt idx="823">1086.397965224191</cx:pt>
          <cx:pt idx="824">1187.4572051115631</cx:pt>
          <cx:pt idx="825">1201.2882602088009</cx:pt>
          <cx:pt idx="826">1313.710691783926</cx:pt>
          <cx:pt idx="827">1218.033482915456</cx:pt>
          <cx:pt idx="828">1256.403588219697</cx:pt>
          <cx:pt idx="829">1201.139074188663</cx:pt>
          <cx:pt idx="830">1232.3507305938331</cx:pt>
          <cx:pt idx="831">1088.9566049461421</cx:pt>
          <cx:pt idx="832">1227.486205007142</cx:pt>
          <cx:pt idx="833">1178.9292166561499</cx:pt>
          <cx:pt idx="834">1124.2282171637671</cx:pt>
          <cx:pt idx="835">1328.8434736456909</cx:pt>
          <cx:pt idx="836">1314.947748622066</cx:pt>
          <cx:pt idx="837">1232.6070976438141</cx:pt>
          <cx:pt idx="838">1183.941482392511</cx:pt>
          <cx:pt idx="839">1206.698587370026</cx:pt>
          <cx:pt idx="840">1278.947665807973</cx:pt>
          <cx:pt idx="841">1171.339663218482</cx:pt>
          <cx:pt idx="842">1182.2265490891471</cx:pt>
          <cx:pt idx="843">1197.517630868211</cx:pt>
          <cx:pt idx="844">1224.5571217759791</cx:pt>
          <cx:pt idx="845">1293.152674817333</cx:pt>
          <cx:pt idx="846">1145.806435507591</cx:pt>
          <cx:pt idx="847">1306.503375983056</cx:pt>
          <cx:pt idx="848">1245.4554227774411</cx:pt>
          <cx:pt idx="849">1358.8873778241191</cx:pt>
          <cx:pt idx="850">1158.228293296678</cx:pt>
          <cx:pt idx="851">1349.5076685907909</cx:pt>
          <cx:pt idx="852">1209.283185551418</cx:pt>
          <cx:pt idx="853">1305.7146297320469</cx:pt>
          <cx:pt idx="854">1260.9594322165331</cx:pt>
          <cx:pt idx="855">1242.0585677393231</cx:pt>
          <cx:pt idx="856">1261.5785102116879</cx:pt>
          <cx:pt idx="857">1317.9758071936519</cx:pt>
          <cx:pt idx="858">1243.41259432946</cx:pt>
          <cx:pt idx="859">1328.9762692145559</cx:pt>
          <cx:pt idx="860">1272.482709820423</cx:pt>
          <cx:pt idx="861">1191.4150841714491</cx:pt>
          <cx:pt idx="862">1194.15644927618</cx:pt>
          <cx:pt idx="863">1258.550197438507</cx:pt>
          <cx:pt idx="864">1219.6618443613629</cx:pt>
          <cx:pt idx="865">1141.123278257867</cx:pt>
          <cx:pt idx="866">1313.6251242918679</cx:pt>
          <cx:pt idx="867">1196.2283064314049</cx:pt>
          <cx:pt idx="868">1318.124744251397</cx:pt>
          <cx:pt idx="869">1381.2633116798081</cx:pt>
          <cx:pt idx="870">1241.5624836970289</cx:pt>
          <cx:pt idx="871">1313.673628620325</cx:pt>
          <cx:pt idx="872">1123.0693988018111</cx:pt>
          <cx:pt idx="873">1286.0676717392309</cx:pt>
          <cx:pt idx="874">1155.1201837969611</cx:pt>
          <cx:pt idx="875">1209.783206381079</cx:pt>
          <cx:pt idx="876">1133.975097420057</cx:pt>
          <cx:pt idx="877">1241.6829936033409</cx:pt>
          <cx:pt idx="878">1201.7924913814579</cx:pt>
          <cx:pt idx="879">1227.1432598737349</cx:pt>
          <cx:pt idx="880">1368.9318429605601</cx:pt>
          <cx:pt idx="881">1218.5714940170501</cx:pt>
          <cx:pt idx="882">1236.230002128153</cx:pt>
          <cx:pt idx="883">1217.3896154711069</cx:pt>
          <cx:pt idx="884">1277.285430440744</cx:pt>
          <cx:pt idx="885">1260.109649742282</cx:pt>
          <cx:pt idx="886">1223.163037586975</cx:pt>
          <cx:pt idx="887">1237.347079503101</cx:pt>
          <cx:pt idx="888">1192.615833674374</cx:pt>
          <cx:pt idx="889">1257.4054237364901</cx:pt>
          <cx:pt idx="890">1181.1123471079929</cx:pt>
          <cx:pt idx="891">1275.694400612304</cx:pt>
          <cx:pt idx="892">1223.7402531291959</cx:pt>
          <cx:pt idx="893">1179.6131215065759</cx:pt>
          <cx:pt idx="894">1203.847880754744</cx:pt>
          <cx:pt idx="895">1247.196015260045</cx:pt>
          <cx:pt idx="896">1288.248268081501</cx:pt>
          <cx:pt idx="897">1198.614686803011</cx:pt>
          <cx:pt idx="898">1244.2058672957201</cx:pt>
          <cx:pt idx="899">1254.8846304607839</cx:pt>
          <cx:pt idx="900">1286.955226959012</cx:pt>
          <cx:pt idx="901">1215.4259922378681</cx:pt>
          <cx:pt idx="902">1222.8232282129759</cx:pt>
          <cx:pt idx="903">1294.2864187620271</cx:pt>
          <cx:pt idx="904">1195.956887231727</cx:pt>
          <cx:pt idx="905">1181.041428474342</cx:pt>
          <cx:pt idx="906">1208.0331445052309</cx:pt>
          <cx:pt idx="907">1205.0729633820581</cx:pt>
          <cx:pt idx="908">1195.8933276079979</cx:pt>
          <cx:pt idx="909">1275.975896130989</cx:pt>
          <cx:pt idx="910">1156.30222069862</cx:pt>
          <cx:pt idx="911">1246.562835461772</cx:pt>
          <cx:pt idx="912">1336.1587065926531</cx:pt>
          <cx:pt idx="913">1255.4735945256921</cx:pt>
          <cx:pt idx="914">1128.998735050551</cx:pt>
          <cx:pt idx="915">1247.616580254431</cx:pt>
          <cx:pt idx="916">1061.511106581165</cx:pt>
          <cx:pt idx="917">1129.6162206341801</cx:pt>
          <cx:pt idx="918">1194.168825377642</cx:pt>
          <cx:pt idx="919">1231.2057348627609</cx:pt>
          <cx:pt idx="920">1218.769696003179</cx:pt>
          <cx:pt idx="921">1249.6782580711831</cx:pt>
          <cx:pt idx="922">1292.1911636352129</cx:pt>
          <cx:pt idx="923">1256.7354174089801</cx:pt>
          <cx:pt idx="924">1258.19079510752</cx:pt>
          <cx:pt idx="925">1148.424462776625</cx:pt>
          <cx:pt idx="926">1165.3900909337519</cx:pt>
          <cx:pt idx="927">1180.7622864251821</cx:pt>
          <cx:pt idx="928">1273.6925983031069</cx:pt>
          <cx:pt idx="929">1321.909660985945</cx:pt>
          <cx:pt idx="930">1202.595480179375</cx:pt>
          <cx:pt idx="931">1167.891197721257</cx:pt>
          <cx:pt idx="932">1169.949044359362</cx:pt>
          <cx:pt idx="933">1212.634425833307</cx:pt>
          <cx:pt idx="934">1243.8106426633381</cx:pt>
          <cx:pt idx="935">1158.6138957485291</cx:pt>
          <cx:pt idx="936">1213.735023035008</cx:pt>
          <cx:pt idx="937">1234.7503685506661</cx:pt>
          <cx:pt idx="938">1224.055757172993</cx:pt>
          <cx:pt idx="939">1238.6478681920789</cx:pt>
          <cx:pt idx="940">1364.3054021983239</cx:pt>
          <cx:pt idx="941">1208.8328575434341</cx:pt>
          <cx:pt idx="942">1273.7702780662021</cx:pt>
          <cx:pt idx="943">1224.1250276783221</cx:pt>
          <cx:pt idx="944">1211.823713526175</cx:pt>
          <cx:pt idx="945">1270.744320233355</cx:pt>
          <cx:pt idx="946">1284.023883228761</cx:pt>
          <cx:pt idx="947">1317.2035246176499</cx:pt>
          <cx:pt idx="948">1304.6119906533279</cx:pt>
          <cx:pt idx="949">1342.6555337417531</cx:pt>
          <cx:pt idx="950">1179.257470913569</cx:pt>
          <cx:pt idx="951">1276.9590369676121</cx:pt>
          <cx:pt idx="952">1201.8421722422261</cx:pt>
          <cx:pt idx="953">1245.363055601631</cx:pt>
          <cx:pt idx="954">1128.663561823385</cx:pt>
          <cx:pt idx="955">1190.2185936978569</cx:pt>
          <cx:pt idx="956">1211.0101116099061</cx:pt>
          <cx:pt idx="957">1152.0079367021899</cx:pt>
          <cx:pt idx="958">1117.0761464036279</cx:pt>
          <cx:pt idx="959">1329.2566881123639</cx:pt>
          <cx:pt idx="960">1246.0101783481391</cx:pt>
          <cx:pt idx="961">1243.150700971267</cx:pt>
          <cx:pt idx="962">1230.7161687351479</cx:pt>
          <cx:pt idx="963">1270.685274717609</cx:pt>
          <cx:pt idx="964">1172.219166102924</cx:pt>
          <cx:pt idx="965">1224.5938461466969</cx:pt>
          <cx:pt idx="966">1228.493000136287</cx:pt>
          <cx:pt idx="967">1215.2479203841051</cx:pt>
          <cx:pt idx="968">1283.080842978746</cx:pt>
          <cx:pt idx="969">1158.6172134636411</cx:pt>
          <cx:pt idx="970">1352.711555546241</cx:pt>
          <cx:pt idx="971">1175.8655535582529</cx:pt>
          <cx:pt idx="972">1125.6445861190259</cx:pt>
          <cx:pt idx="973">1214.9733087866871</cx:pt>
          <cx:pt idx="974">1285.329631079285</cx:pt>
          <cx:pt idx="975">1133.670196357129</cx:pt>
          <cx:pt idx="976">1258.2103572567969</cx:pt>
          <cx:pt idx="977">1216.8162112697601</cx:pt>
          <cx:pt idx="978">1267.601846692304</cx:pt>
          <cx:pt idx="979">1339.846890885193</cx:pt>
          <cx:pt idx="980">1119.624333160499</cx:pt>
          <cx:pt idx="981">1289.250129160954</cx:pt>
          <cx:pt idx="982">1332.816742683048</cx:pt>
          <cx:pt idx="983">1270.958944849041</cx:pt>
          <cx:pt idx="984">1309.9490622900071</cx:pt>
          <cx:pt idx="985">1278.149762786039</cx:pt>
          <cx:pt idx="986">1111.657856099494</cx:pt>
          <cx:pt idx="987">1231.2665333087691</cx:pt>
          <cx:pt idx="988">1256.0186607446919</cx:pt>
          <cx:pt idx="989">1190.0067506665289</cx:pt>
          <cx:pt idx="990">1193.3202484678479</cx:pt>
          <cx:pt idx="991">1171.42088834014</cx:pt>
          <cx:pt idx="992">1192.2272665361099</cx:pt>
          <cx:pt idx="993">1234.6067151006539</cx:pt>
          <cx:pt idx="994">1278.0728314297589</cx:pt>
          <cx:pt idx="995">1139.0205054710841</cx:pt>
          <cx:pt idx="996">1216.390836069522</cx:pt>
          <cx:pt idx="997">1269.413694979861</cx:pt>
          <cx:pt idx="998">1233.796059079687</cx:pt>
          <cx:pt idx="999">1284.0901753948931</cx:pt>
        </cx:lvl>
      </cx:numDim>
    </cx:data>
  </cx:chartData>
  <cx:chart>
    <cx:plotArea>
      <cx:plotAreaRegion>
        <cx:series layoutId="clusteredColumn" uniqueId="{EE6174D2-BB51-4178-89D6-11342A40806F}">
          <cx:tx>
            <cx:txData>
              <cx:f>Sheet1!$B$1</cx:f>
              <cx:v>solution_value</cx:v>
            </cx:txData>
          </cx:tx>
          <cx:spPr>
            <a:solidFill>
              <a:srgbClr val="002C77"/>
            </a:solidFill>
          </cx:spPr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>
                    <a:solidFill>
                      <a:schemeClr val="tx1"/>
                    </a:solidFill>
                  </a:defRPr>
                </a:pPr>
                <a:endParaRPr lang="en-US" sz="14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visibility seriesName="0" categoryName="0" value="1"/>
          </cx:dataLabels>
          <cx:dataId val="0"/>
          <cx:layoutPr>
            <cx:binning intervalClosed="r"/>
          </cx:layoutPr>
        </cx:series>
      </cx:plotAreaRegion>
      <cx:axis id="0">
        <cx:catScaling gapWidth="0"/>
        <cx:tickLabels/>
        <cx:numFmt formatCode="#.##0" sourceLinked="0"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200">
                <a:solidFill>
                  <a:schemeClr val="tx1"/>
                </a:solidFill>
              </a:defRPr>
            </a:pPr>
            <a:endParaRPr lang="en-US" sz="1200" b="0" i="0" u="none" strike="noStrike" baseline="0">
              <a:solidFill>
                <a:schemeClr val="tx1"/>
              </a:solidFill>
              <a:latin typeface="Calibri" panose="020F0502020204030204"/>
            </a:endParaRPr>
          </a:p>
        </cx:txPr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A4A165-2E01-2994-5348-BF4B19C0B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97384EB-9FBB-7FAF-37DA-D5D9866687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AA90D11-E02D-89FA-2B56-A973DD5C8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DA50A5A-15E0-09E9-05C1-9A162A4C2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5F00B56-E0AC-6D90-4828-290719740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11530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AC9DBD-16A9-66F1-ECF9-5578F2317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CDE562F-55C1-452F-B5C1-1F4A9E4E6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C046438-6A06-A27B-B4CE-9D5B6D889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2457ECC-39CC-7600-5A69-1FAE87DDE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A765370-0AF2-1451-A0A1-25A3F27F0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3139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6CDD9E5-D238-A5A1-7BD8-1DA100FDD6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3D581B1-FF24-51B7-E278-06D558D09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6144E48-60E1-B1F6-8831-B33FF4D6A3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8417278-ACF7-203D-BC33-D915534C7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D874CB-B15F-3978-1F43-F1B8EBCE0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4595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286EDD-B714-C59C-3643-80B392ADF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7746383-190C-182D-E649-7F91563EEE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04E3E1D-A6D8-46FC-FFDF-A6708C5E7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360FB45-6B9E-EE10-2895-DE50AF87B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83C0282-865C-A0B8-3552-028B5799E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0999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B33933-E836-68E7-EDA7-AB4CC392A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84EE81C-A5B9-F660-0524-52205D57C7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1C0C53C-60B4-96D5-7CDE-81E3AFF25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80AB542-395D-D57E-73F8-5E0572D69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73F57BC-5D83-6ACC-035B-6AF732827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4246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13E4EA-623C-0E9E-39AB-578AEFF9C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21FE02E-51C2-9C71-3E95-F7A507FACE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41E4E52-CE4A-1332-16C6-FC040864AB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5C4AA95-66AE-7AF1-8016-C7C03A58E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41D5A0F-924E-D009-791A-BFAE10336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7D711D7-3148-A636-0891-BEA6CC962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6759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0A6188-A163-AFCE-771A-EBE41A23F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A860FD-061E-6D79-E6DA-DEA3802D68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AEA7888-DF5F-C37C-0858-A9D4A54C11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A28BAFD-71EC-070A-3D0B-4AB1C7F249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790C0BB4-FFCE-C345-3478-FD55A56DAC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EF6D7F51-7040-9FEB-6895-7A0BF7DA3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B741A465-6BC5-64F6-D60B-011D684B1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2DBA17B-D931-5F77-DDE2-6180A074D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8383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4871A54-1BC8-DC48-7023-29DA37533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BA137C13-3667-6441-DD7C-340B5F0C05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2B27E59-31F3-9A5E-90B9-989920E35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0C7F35B-CDE1-41B4-E6AE-99641F1D6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1572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41D38855-89A2-2067-85EE-BF32763BB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9F20D7A3-1259-C330-8C52-920287699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1C1BA7C-A82A-125A-12FB-ED08641C3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81189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251EF43-2544-A458-9494-63803277A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0F7369D-5B92-13FE-FA05-1DD4E6BB3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1077DEF-604B-A7B8-537F-6733E3858C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2714E34-0AF6-104F-C662-FC46DB276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714DD49-019C-B4FA-D440-0F469E1CA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6127D2D-797C-187A-F4C0-FDB00B351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0830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02AACD-5604-5808-3A5E-95FABADDF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6D44349-F752-00BA-8EDB-AF9B05159D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15AAE81-CD52-50B3-4702-7F9C56153A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87C6A6D-061D-0E02-8629-9F50C5F77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A989C4A-8CD0-95ED-F497-13486CD9B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C4F9AE9-3EDF-A4A2-BB9F-A7AB3E6C6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1147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823CEA6-927B-4EC3-AD48-628A2A396A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3570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ED2E683-6284-023F-1212-231363443E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DE2981-A3EE-461A-66E8-D8CC967F0F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3E48D4-2C48-4384-AC7F-A1325933AE4B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94854CF-D040-EC9A-141B-9B3E5424A5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AC27CC7-D439-F067-E064-5DCFD22ADE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620C6B-499E-445C-B9E5-D4C916886DE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81972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2.xml"/><Relationship Id="rId6" Type="http://schemas.openxmlformats.org/officeDocument/2006/relationships/image" Target="../media/image19.png"/><Relationship Id="rId5" Type="http://schemas.microsoft.com/office/2014/relationships/chartEx" Target="../charts/chartEx2.xml"/><Relationship Id="rId4" Type="http://schemas.openxmlformats.org/officeDocument/2006/relationships/image" Target="../media/image18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chart" Target="../charts/chart3.xml"/><Relationship Id="rId2" Type="http://schemas.openxmlformats.org/officeDocument/2006/relationships/tags" Target="../tags/tag94.xml"/><Relationship Id="rId16" Type="http://schemas.openxmlformats.org/officeDocument/2006/relationships/image" Target="../media/image18.emf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image" Target="../media/image1.emf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slideLayout" Target="../slideLayouts/slideLayout6.xml"/><Relationship Id="rId40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8" Type="http://schemas.openxmlformats.org/officeDocument/2006/relationships/tags" Target="../tags/tag11.xml"/><Relationship Id="rId3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tags" Target="../tags/tag65.xml"/><Relationship Id="rId39" Type="http://schemas.openxmlformats.org/officeDocument/2006/relationships/tags" Target="../tags/tag78.xml"/><Relationship Id="rId21" Type="http://schemas.openxmlformats.org/officeDocument/2006/relationships/tags" Target="../tags/tag60.xml"/><Relationship Id="rId34" Type="http://schemas.openxmlformats.org/officeDocument/2006/relationships/tags" Target="../tags/tag73.xml"/><Relationship Id="rId42" Type="http://schemas.openxmlformats.org/officeDocument/2006/relationships/tags" Target="../tags/tag81.xml"/><Relationship Id="rId47" Type="http://schemas.openxmlformats.org/officeDocument/2006/relationships/tags" Target="../tags/tag86.xml"/><Relationship Id="rId50" Type="http://schemas.openxmlformats.org/officeDocument/2006/relationships/tags" Target="../tags/tag89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9" Type="http://schemas.openxmlformats.org/officeDocument/2006/relationships/tags" Target="../tags/tag68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tags" Target="../tags/tag71.xml"/><Relationship Id="rId37" Type="http://schemas.openxmlformats.org/officeDocument/2006/relationships/tags" Target="../tags/tag76.xml"/><Relationship Id="rId40" Type="http://schemas.openxmlformats.org/officeDocument/2006/relationships/tags" Target="../tags/tag79.xml"/><Relationship Id="rId45" Type="http://schemas.openxmlformats.org/officeDocument/2006/relationships/tags" Target="../tags/tag84.xml"/><Relationship Id="rId53" Type="http://schemas.openxmlformats.org/officeDocument/2006/relationships/image" Target="../media/image1.emf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tags" Target="../tags/tag70.xml"/><Relationship Id="rId44" Type="http://schemas.openxmlformats.org/officeDocument/2006/relationships/tags" Target="../tags/tag83.xml"/><Relationship Id="rId52" Type="http://schemas.openxmlformats.org/officeDocument/2006/relationships/oleObject" Target="../embeddings/oleObject4.bin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tags" Target="../tags/tag66.xml"/><Relationship Id="rId30" Type="http://schemas.openxmlformats.org/officeDocument/2006/relationships/tags" Target="../tags/tag69.xml"/><Relationship Id="rId35" Type="http://schemas.openxmlformats.org/officeDocument/2006/relationships/tags" Target="../tags/tag74.xml"/><Relationship Id="rId43" Type="http://schemas.openxmlformats.org/officeDocument/2006/relationships/tags" Target="../tags/tag82.xml"/><Relationship Id="rId48" Type="http://schemas.openxmlformats.org/officeDocument/2006/relationships/tags" Target="../tags/tag87.xml"/><Relationship Id="rId8" Type="http://schemas.openxmlformats.org/officeDocument/2006/relationships/tags" Target="../tags/tag47.xml"/><Relationship Id="rId51" Type="http://schemas.openxmlformats.org/officeDocument/2006/relationships/slideLayout" Target="../slideLayouts/slideLayout6.xml"/><Relationship Id="rId3" Type="http://schemas.openxmlformats.org/officeDocument/2006/relationships/tags" Target="../tags/tag42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tags" Target="../tags/tag64.xml"/><Relationship Id="rId33" Type="http://schemas.openxmlformats.org/officeDocument/2006/relationships/tags" Target="../tags/tag72.xml"/><Relationship Id="rId38" Type="http://schemas.openxmlformats.org/officeDocument/2006/relationships/tags" Target="../tags/tag77.xml"/><Relationship Id="rId46" Type="http://schemas.openxmlformats.org/officeDocument/2006/relationships/tags" Target="../tags/tag85.xml"/><Relationship Id="rId20" Type="http://schemas.openxmlformats.org/officeDocument/2006/relationships/tags" Target="../tags/tag59.xml"/><Relationship Id="rId41" Type="http://schemas.openxmlformats.org/officeDocument/2006/relationships/tags" Target="../tags/tag80.xml"/><Relationship Id="rId54" Type="http://schemas.openxmlformats.org/officeDocument/2006/relationships/chart" Target="../charts/chart2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tags" Target="../tags/tag67.xml"/><Relationship Id="rId36" Type="http://schemas.openxmlformats.org/officeDocument/2006/relationships/tags" Target="../tags/tag75.xml"/><Relationship Id="rId49" Type="http://schemas.openxmlformats.org/officeDocument/2006/relationships/tags" Target="../tags/tag8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1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D4AD0ED-45F1-4AB2-8C18-7DED238A0F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7430622-9855-482E-98A8-1FAECC9090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tx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5C76D5-716D-420A-ABDC-55BF6D9ED2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" y="2075420"/>
            <a:ext cx="12048729" cy="4093306"/>
            <a:chOff x="1" y="2075420"/>
            <a:chExt cx="12048729" cy="409330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9875022-E2DB-4A9E-8832-E7009F0E40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4500000">
              <a:off x="7942191" y="2507571"/>
              <a:ext cx="3563871" cy="3563871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1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BFBDCA6-4D2C-451E-8205-8C334DCEEE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0435065" y="4048931"/>
              <a:ext cx="1381607" cy="1381607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395B2B7-3263-461B-8800-669EBE8842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" y="2075420"/>
              <a:ext cx="3144364" cy="3144364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alpha val="20000"/>
                  </a:schemeClr>
                </a:gs>
                <a:gs pos="100000">
                  <a:schemeClr val="tx2">
                    <a:lumMod val="50000"/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727DC78-6D51-415D-878D-516F840FB67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2600000">
              <a:off x="10150845" y="4270841"/>
              <a:ext cx="1897885" cy="1897885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alpha val="10000"/>
                  </a:schemeClr>
                </a:gs>
                <a:gs pos="100000">
                  <a:schemeClr val="tx2">
                    <a:lumMod val="75000"/>
                    <a:alpha val="2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405FB7A-34E4-454E-80C1-3AF31F6003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4500000">
              <a:off x="2046780" y="3040492"/>
              <a:ext cx="2579322" cy="2579322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56EC0F8-CE39-4C95-B52D-033DBF561C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4500000">
              <a:off x="2224640" y="3193975"/>
              <a:ext cx="2243193" cy="2243193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10000"/>
                    </a:schemeClr>
                  </a:gs>
                  <a:gs pos="100000">
                    <a:schemeClr val="tx2">
                      <a:lumMod val="50000"/>
                      <a:alpha val="1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E231900D-8797-084E-59A6-CE9C14D94C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3326" y="609600"/>
            <a:ext cx="8229600" cy="2819399"/>
          </a:xfrm>
          <a:noFill/>
        </p:spPr>
        <p:txBody>
          <a:bodyPr anchor="b">
            <a:normAutofit/>
          </a:bodyPr>
          <a:lstStyle/>
          <a:p>
            <a:r>
              <a:rPr lang="pt-BR" sz="4800">
                <a:solidFill>
                  <a:schemeClr val="bg1"/>
                </a:solidFill>
                <a:latin typeface="-apple-system"/>
              </a:rPr>
              <a:t>ATIVIDADE 01</a:t>
            </a:r>
            <a:endParaRPr lang="pt-BR" sz="4800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6CFA6AD-09B2-B315-C1AA-755030D760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43326" y="3522428"/>
            <a:ext cx="8229600" cy="2607079"/>
          </a:xfrm>
          <a:noFill/>
        </p:spPr>
        <p:txBody>
          <a:bodyPr anchor="ctr">
            <a:normAutofit/>
          </a:bodyPr>
          <a:lstStyle/>
          <a:p>
            <a:r>
              <a:rPr lang="pt-BR" sz="1800" b="0" i="0" dirty="0">
                <a:solidFill>
                  <a:schemeClr val="bg1"/>
                </a:solidFill>
                <a:effectLst/>
              </a:rPr>
              <a:t>PNV3512 - Planejamento e Operações de Sistemas Logísticos</a:t>
            </a:r>
          </a:p>
          <a:p>
            <a:r>
              <a:rPr lang="pt-BR" sz="1800" dirty="0">
                <a:solidFill>
                  <a:schemeClr val="bg1"/>
                </a:solidFill>
              </a:rPr>
              <a:t>Allan Gomes (11259396)</a:t>
            </a:r>
          </a:p>
          <a:p>
            <a:r>
              <a:rPr lang="pt-BR" sz="1800" dirty="0">
                <a:solidFill>
                  <a:schemeClr val="bg1"/>
                </a:solidFill>
              </a:rPr>
              <a:t>Guilherme Nalin (11262772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3162FBC-1EE8-4355-8B2B-CB9A5B4BD5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438146" y="1042605"/>
            <a:ext cx="2796461" cy="71125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tx2">
                  <a:lumMod val="75000"/>
                  <a:alpha val="10000"/>
                </a:schemeClr>
              </a:gs>
            </a:gsLst>
            <a:lin ang="8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940EF9-7ECF-49BA-8F14-5EBC7ADE0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259539" y="317578"/>
            <a:ext cx="548640" cy="549007"/>
            <a:chOff x="7029447" y="3514725"/>
            <a:chExt cx="1285875" cy="549007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F9A5AE3-5A1E-4528-BDC2-D32A66EFFD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514725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75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39C6801-3BB8-4C41-9385-D9CE4F14857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697727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75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8EA6929-FF51-4E95-8E16-80E9F371AE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880729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75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BE91CBD-B19A-4299-90BD-CC3AB69766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4063732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75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26CE109B-4241-4CF1-B587-868774BB44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" y="6140785"/>
            <a:ext cx="6095997" cy="711252"/>
          </a:xfrm>
          <a:prstGeom prst="rect">
            <a:avLst/>
          </a:prstGeom>
          <a:gradFill flip="none" rotWithShape="1">
            <a:gsLst>
              <a:gs pos="10000">
                <a:schemeClr val="tx2">
                  <a:lumMod val="50000"/>
                  <a:alpha val="10000"/>
                </a:schemeClr>
              </a:gs>
              <a:gs pos="100000">
                <a:schemeClr val="tx2">
                  <a:lumMod val="60000"/>
                  <a:lumOff val="40000"/>
                  <a:alpha val="0"/>
                </a:schemeClr>
              </a:gs>
            </a:gsLst>
            <a:lin ang="8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D107650-C271-404F-98D8-BB8E7E0306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>
            <a:off x="616345" y="5940560"/>
            <a:ext cx="1285875" cy="549007"/>
            <a:chOff x="7029447" y="3514725"/>
            <a:chExt cx="1285875" cy="549007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1F01725-EDBB-493E-A610-EF9ACBABB2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514725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C8E2A80-F420-488D-AE39-E20BC61B195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697727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58A20B2-85E4-4C64-A75F-376DA772A4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880729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88BDCE8-2392-4F5E-B6B4-AD19C903B9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4063732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72558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8DC04FCA-0665-6EE7-7515-23C0451DC54A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Comparação do Resultado entre CWS tradicional e randômico.</a:t>
            </a:r>
            <a:endParaRPr lang="pt-BR" sz="1400" b="1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E38FCA-FEE7-F627-B1F6-EF1DF10823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294" y="1635369"/>
            <a:ext cx="4661423" cy="4661423"/>
          </a:xfrm>
          <a:prstGeom prst="rect">
            <a:avLst/>
          </a:prstGeom>
        </p:spPr>
      </p:pic>
      <p:pic>
        <p:nvPicPr>
          <p:cNvPr id="4" name="Picture 3" descr="A picture containing map, diagram, line, screenshot&#10;&#10;Description automatically generated">
            <a:extLst>
              <a:ext uri="{FF2B5EF4-FFF2-40B4-BE49-F238E27FC236}">
                <a16:creationId xmlns:a16="http://schemas.microsoft.com/office/drawing/2014/main" id="{EDD3C2F0-7914-7F61-56D1-62812EFF55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285" y="1635369"/>
            <a:ext cx="4661423" cy="46614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F23DE39-BA9B-99DA-6A96-3E564A3FE43C}"/>
              </a:ext>
            </a:extLst>
          </p:cNvPr>
          <p:cNvSpPr/>
          <p:nvPr/>
        </p:nvSpPr>
        <p:spPr>
          <a:xfrm>
            <a:off x="6096000" y="1292469"/>
            <a:ext cx="45719" cy="5301762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9584240F-8FEC-D61A-23EA-5AFF0FE020FE}"/>
              </a:ext>
            </a:extLst>
          </p:cNvPr>
          <p:cNvSpPr txBox="1">
            <a:spLocks/>
          </p:cNvSpPr>
          <p:nvPr/>
        </p:nvSpPr>
        <p:spPr>
          <a:xfrm>
            <a:off x="1314881" y="1292469"/>
            <a:ext cx="3376247" cy="342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800" b="1" dirty="0">
                <a:latin typeface="+mn-lt"/>
              </a:rPr>
              <a:t>Tradicional: 982.5 km </a:t>
            </a:r>
            <a:endParaRPr lang="pt-BR" sz="1050" b="1" dirty="0">
              <a:latin typeface="+mn-lt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4EEF8325-1333-CC07-C906-5CD628621C3D}"/>
              </a:ext>
            </a:extLst>
          </p:cNvPr>
          <p:cNvSpPr txBox="1">
            <a:spLocks/>
          </p:cNvSpPr>
          <p:nvPr/>
        </p:nvSpPr>
        <p:spPr>
          <a:xfrm>
            <a:off x="7500872" y="1292469"/>
            <a:ext cx="3376247" cy="342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800" b="1" dirty="0">
                <a:solidFill>
                  <a:schemeClr val="accent4">
                    <a:lumMod val="50000"/>
                  </a:schemeClr>
                </a:solidFill>
                <a:latin typeface="+mn-lt"/>
              </a:rPr>
              <a:t>Randômico: 960.7 km </a:t>
            </a:r>
            <a:endParaRPr lang="pt-BR" sz="1050" b="1" dirty="0">
              <a:solidFill>
                <a:schemeClr val="accent4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7478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CBC4ACA9-89F3-F3A5-7C36-E3D1D2E8634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33349676"/>
                  </p:ext>
                </p:extLst>
              </p:nvPr>
            </p:nvGraphicFramePr>
            <p:xfrm>
              <a:off x="523875" y="1266093"/>
              <a:ext cx="11078029" cy="464233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5" name="Chart 4">
                <a:extLst>
                  <a:ext uri="{FF2B5EF4-FFF2-40B4-BE49-F238E27FC236}">
                    <a16:creationId xmlns:a16="http://schemas.microsoft.com/office/drawing/2014/main" id="{CBC4ACA9-89F3-F3A5-7C36-E3D1D2E863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23875" y="1266093"/>
                <a:ext cx="11078029" cy="4642338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ítulo 1">
            <a:extLst>
              <a:ext uri="{FF2B5EF4-FFF2-40B4-BE49-F238E27FC236}">
                <a16:creationId xmlns:a16="http://schemas.microsoft.com/office/drawing/2014/main" id="{23C0870D-7014-B899-5CA2-D07F50AF6C1E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Valores da função objetivo</a:t>
            </a:r>
            <a:endParaRPr lang="pt-BR" sz="1400" b="1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9FE69E-D9D2-0D8A-DB3E-292CC1A73F7A}"/>
              </a:ext>
            </a:extLst>
          </p:cNvPr>
          <p:cNvSpPr txBox="1"/>
          <p:nvPr/>
        </p:nvSpPr>
        <p:spPr>
          <a:xfrm>
            <a:off x="8829675" y="1266093"/>
            <a:ext cx="22007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Máximo: 1144,43 km</a:t>
            </a:r>
          </a:p>
          <a:p>
            <a:r>
              <a:rPr lang="pt-BR" b="1" dirty="0"/>
              <a:t>Mínimo: 960,72 km</a:t>
            </a:r>
          </a:p>
          <a:p>
            <a:r>
              <a:rPr lang="pt-BR" b="1" dirty="0"/>
              <a:t>Média: 1018,08 km</a:t>
            </a:r>
          </a:p>
        </p:txBody>
      </p:sp>
    </p:spTree>
    <p:extLst>
      <p:ext uri="{BB962C8B-B14F-4D97-AF65-F5344CB8AC3E}">
        <p14:creationId xmlns:p14="http://schemas.microsoft.com/office/powerpoint/2010/main" val="3071120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edifício, grande, mesa, estacionado">
            <a:extLst>
              <a:ext uri="{FF2B5EF4-FFF2-40B4-BE49-F238E27FC236}">
                <a16:creationId xmlns:a16="http://schemas.microsoft.com/office/drawing/2014/main" id="{F0540AFB-CC16-9E18-E333-D10D92E36B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0" r="13943"/>
          <a:stretch/>
        </p:blipFill>
        <p:spPr>
          <a:xfrm>
            <a:off x="0" y="0"/>
            <a:ext cx="6788727" cy="6858000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96EB9B50-C9B9-3D7A-5F82-D9A0AFCC5C03}"/>
              </a:ext>
            </a:extLst>
          </p:cNvPr>
          <p:cNvSpPr/>
          <p:nvPr/>
        </p:nvSpPr>
        <p:spPr>
          <a:xfrm>
            <a:off x="6442363" y="1233054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E7AEDA9B-BC1F-B014-2BBB-8FA3F88F6EAE}"/>
              </a:ext>
            </a:extLst>
          </p:cNvPr>
          <p:cNvSpPr/>
          <p:nvPr/>
        </p:nvSpPr>
        <p:spPr>
          <a:xfrm>
            <a:off x="6442363" y="2424545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35E51C98-4BA7-88D8-38AC-EDAF293BB3D7}"/>
              </a:ext>
            </a:extLst>
          </p:cNvPr>
          <p:cNvSpPr/>
          <p:nvPr/>
        </p:nvSpPr>
        <p:spPr>
          <a:xfrm>
            <a:off x="6442362" y="361603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585806DF-A8D8-032D-1A1F-FCA96278933A}"/>
              </a:ext>
            </a:extLst>
          </p:cNvPr>
          <p:cNvSpPr/>
          <p:nvPr/>
        </p:nvSpPr>
        <p:spPr>
          <a:xfrm>
            <a:off x="6442360" y="480752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A4FFC7D-59BE-5689-BAA5-D86ED54EBDB4}"/>
              </a:ext>
            </a:extLst>
          </p:cNvPr>
          <p:cNvSpPr txBox="1"/>
          <p:nvPr/>
        </p:nvSpPr>
        <p:spPr>
          <a:xfrm>
            <a:off x="7278254" y="143868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Geração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Exaustiv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Rotas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&amp;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ermutações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4BCE0FE-5D82-6F60-E434-F02748CF062F}"/>
              </a:ext>
            </a:extLst>
          </p:cNvPr>
          <p:cNvSpPr txBox="1"/>
          <p:nvPr/>
        </p:nvSpPr>
        <p:spPr>
          <a:xfrm>
            <a:off x="7278254" y="2586242"/>
            <a:ext cx="65601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Algoritmo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de Clarke &amp; Wright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69C0759-A578-7C45-D37D-A0498318A3B7}"/>
              </a:ext>
            </a:extLst>
          </p:cNvPr>
          <p:cNvSpPr txBox="1"/>
          <p:nvPr/>
        </p:nvSpPr>
        <p:spPr>
          <a:xfrm>
            <a:off x="7278254" y="3777733"/>
            <a:ext cx="68441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Heurística</a:t>
            </a:r>
            <a:r>
              <a:rPr lang="en-US" dirty="0"/>
              <a:t> </a:t>
            </a:r>
            <a:r>
              <a:rPr lang="en-US" dirty="0" err="1"/>
              <a:t>Construtiva</a:t>
            </a:r>
            <a:r>
              <a:rPr lang="en-US" dirty="0"/>
              <a:t> </a:t>
            </a:r>
            <a:r>
              <a:rPr lang="en-US" dirty="0" err="1"/>
              <a:t>Probabilística</a:t>
            </a:r>
            <a:endParaRPr lang="en-US" dirty="0"/>
          </a:p>
        </p:txBody>
      </p:sp>
      <p:sp>
        <p:nvSpPr>
          <p:cNvPr id="2" name="CaixaDeTexto 14">
            <a:extLst>
              <a:ext uri="{FF2B5EF4-FFF2-40B4-BE49-F238E27FC236}">
                <a16:creationId xmlns:a16="http://schemas.microsoft.com/office/drawing/2014/main" id="{F3C3C0CF-F640-33ED-3731-3903D3757691}"/>
              </a:ext>
            </a:extLst>
          </p:cNvPr>
          <p:cNvSpPr txBox="1"/>
          <p:nvPr/>
        </p:nvSpPr>
        <p:spPr>
          <a:xfrm>
            <a:off x="7278254" y="4969224"/>
            <a:ext cx="6989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Tempos de </a:t>
            </a:r>
            <a:r>
              <a:rPr lang="en-US" dirty="0" err="1"/>
              <a:t>Execu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4014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6C257D80-20F1-9FD4-3982-2CD06F9781B2}"/>
              </a:ext>
            </a:extLst>
          </p:cNvPr>
          <p:cNvSpPr/>
          <p:nvPr/>
        </p:nvSpPr>
        <p:spPr>
          <a:xfrm>
            <a:off x="711997" y="1294947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2EBD3E8B-3237-9B9B-FC59-F9E672EC772B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Descrição do algoritmo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2D51BF36-CADE-9ED3-0CCD-B29ED0F7A595}"/>
              </a:ext>
            </a:extLst>
          </p:cNvPr>
          <p:cNvSpPr txBox="1"/>
          <p:nvPr/>
        </p:nvSpPr>
        <p:spPr>
          <a:xfrm>
            <a:off x="1313543" y="1346278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Definir quantidade de veículo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28DFE1E-04E0-9D00-7146-39C626122500}"/>
                  </a:ext>
                </a:extLst>
              </p:cNvPr>
              <p:cNvSpPr txBox="1"/>
              <p:nvPr/>
            </p:nvSpPr>
            <p:spPr>
              <a:xfrm>
                <a:off x="1036257" y="1542433"/>
                <a:ext cx="557652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1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𝑠𝑜𝑚𝑎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𝑑𝑎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𝑑𝑒𝑚𝑎𝑛𝑑𝑎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lit/>
                        </m:rP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𝑐𝑎𝑝𝑎𝑐𝑖𝑑𝑎𝑑𝑒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𝑑𝑜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𝑣𝑒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í</m:t>
                      </m:r>
                      <m:r>
                        <a:rPr lang="pt-BR" sz="1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𝑐𝑢𝑙𝑜</m:t>
                      </m:r>
                    </m:oMath>
                  </m:oMathPara>
                </a14:m>
                <a:endParaRPr lang="pt-BR" sz="1400" dirty="0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28DFE1E-04E0-9D00-7146-39C6261225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6257" y="1542433"/>
                <a:ext cx="5576520" cy="307777"/>
              </a:xfrm>
              <a:prstGeom prst="rect">
                <a:avLst/>
              </a:prstGeom>
              <a:blipFill>
                <a:blip r:embed="rId2"/>
                <a:stretch>
                  <a:fillRect b="-5882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Oval 9">
            <a:extLst>
              <a:ext uri="{FF2B5EF4-FFF2-40B4-BE49-F238E27FC236}">
                <a16:creationId xmlns:a16="http://schemas.microsoft.com/office/drawing/2014/main" id="{41038FD6-E8F8-383F-2B9F-8874B7E34F14}"/>
              </a:ext>
            </a:extLst>
          </p:cNvPr>
          <p:cNvSpPr/>
          <p:nvPr/>
        </p:nvSpPr>
        <p:spPr>
          <a:xfrm>
            <a:off x="711997" y="1955893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6DE1198F-7A58-0FE1-BEE8-3255792590A4}"/>
              </a:ext>
            </a:extLst>
          </p:cNvPr>
          <p:cNvSpPr txBox="1"/>
          <p:nvPr/>
        </p:nvSpPr>
        <p:spPr>
          <a:xfrm>
            <a:off x="1313543" y="2007224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Escolher clientes iniciais para cada uma das </a:t>
            </a:r>
            <a:r>
              <a:rPr lang="pt-BR" sz="1600" b="1" i="1" dirty="0">
                <a:solidFill>
                  <a:srgbClr val="000000"/>
                </a:solidFill>
              </a:rPr>
              <a:t>m</a:t>
            </a:r>
            <a:r>
              <a:rPr lang="pt-BR" sz="1600" b="1" dirty="0">
                <a:solidFill>
                  <a:srgbClr val="000000"/>
                </a:solidFill>
              </a:rPr>
              <a:t> rota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D3340F-7759-E376-B4CF-62D150FB0255}"/>
              </a:ext>
            </a:extLst>
          </p:cNvPr>
          <p:cNvSpPr txBox="1"/>
          <p:nvPr/>
        </p:nvSpPr>
        <p:spPr>
          <a:xfrm>
            <a:off x="1313543" y="2267896"/>
            <a:ext cx="991016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scolher clientes que necessariamente estariam em rotas diferentes. Para fazer essa escolha, iniciar adicionando o cliente mais distante do depósito a lista de clientes escolhidos (juntamente com o depósito). Em seguida, iterar adicionando os clientes mais distantes aos clientes da lista até que </a:t>
            </a:r>
            <a:r>
              <a:rPr lang="pt-BR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ejam adicionados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7FCA40B-4374-E634-B462-5A93E1D1BB30}"/>
              </a:ext>
            </a:extLst>
          </p:cNvPr>
          <p:cNvSpPr/>
          <p:nvPr/>
        </p:nvSpPr>
        <p:spPr>
          <a:xfrm>
            <a:off x="711997" y="3081630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F333A44E-6905-F535-5987-14DAEFE6F3D7}"/>
              </a:ext>
            </a:extLst>
          </p:cNvPr>
          <p:cNvSpPr txBox="1"/>
          <p:nvPr/>
        </p:nvSpPr>
        <p:spPr>
          <a:xfrm>
            <a:off x="1313543" y="3132961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Construir o restante das rota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2762577-F52F-215F-0487-A7170DDFDD5E}"/>
              </a:ext>
            </a:extLst>
          </p:cNvPr>
          <p:cNvSpPr txBox="1"/>
          <p:nvPr/>
        </p:nvSpPr>
        <p:spPr>
          <a:xfrm>
            <a:off x="1313543" y="3457221"/>
            <a:ext cx="99101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lecionar uma rota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aborar a lista ordenada dos clientes mais próximos (à rota), que ainda estão pendentes de alocação. 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rtear um cliente entre os 5 mais próximos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icionar o cliente na posição com menor acréscimo de custo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guir para rota seguinte e repetir os passos até que as rotas tenham a capacidade exaurida</a:t>
            </a:r>
          </a:p>
          <a:p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Caso as rotas fiquem completas e ainda sobrem clientes, reiniciar o algoritmo com m+1 veículo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450A8CA-7D53-5BFC-B5E7-5FE328290A68}"/>
              </a:ext>
            </a:extLst>
          </p:cNvPr>
          <p:cNvSpPr/>
          <p:nvPr/>
        </p:nvSpPr>
        <p:spPr>
          <a:xfrm>
            <a:off x="711997" y="4956460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AA85D043-2054-A69C-6E76-74CEA982B660}"/>
              </a:ext>
            </a:extLst>
          </p:cNvPr>
          <p:cNvSpPr txBox="1"/>
          <p:nvPr/>
        </p:nvSpPr>
        <p:spPr>
          <a:xfrm>
            <a:off x="1313543" y="5007791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Recomeçar (</a:t>
            </a:r>
            <a:r>
              <a:rPr lang="pt-BR" sz="1600" b="1" dirty="0" err="1">
                <a:solidFill>
                  <a:srgbClr val="000000"/>
                </a:solidFill>
              </a:rPr>
              <a:t>MultiStarts</a:t>
            </a:r>
            <a:r>
              <a:rPr lang="pt-BR" sz="1600" b="1" dirty="0">
                <a:solidFill>
                  <a:srgbClr val="000000"/>
                </a:solidFill>
              </a:rPr>
              <a:t>) os passos acim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89BED1-3632-B4B8-1187-A2D1F1612402}"/>
              </a:ext>
            </a:extLst>
          </p:cNvPr>
          <p:cNvSpPr txBox="1"/>
          <p:nvPr/>
        </p:nvSpPr>
        <p:spPr>
          <a:xfrm>
            <a:off x="1313542" y="5280720"/>
            <a:ext cx="938669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342900" indent="-342900">
              <a:buFont typeface="+mj-lt"/>
              <a:buAutoNum type="arabicPeriod"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pt-BR" dirty="0"/>
              <a:t>Executar os passos acima 1000x, comparando o valor da função objetivo para identificar qual das iterações gera a melhor solução.</a:t>
            </a:r>
          </a:p>
        </p:txBody>
      </p:sp>
    </p:spTree>
    <p:extLst>
      <p:ext uri="{BB962C8B-B14F-4D97-AF65-F5344CB8AC3E}">
        <p14:creationId xmlns:p14="http://schemas.microsoft.com/office/powerpoint/2010/main" val="402617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8DC04FCA-0665-6EE7-7515-23C0451DC54A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Solução gerada</a:t>
            </a:r>
          </a:p>
          <a:p>
            <a:r>
              <a:rPr lang="pt-BR" sz="1600" b="1" dirty="0">
                <a:latin typeface="+mn-lt"/>
              </a:rPr>
              <a:t>Distância total: 1033.57 km</a:t>
            </a:r>
            <a:endParaRPr lang="pt-BR" sz="1400" b="1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7A7A0C-9CBE-66FC-EA50-1B1F54F5CE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9462" y="885826"/>
            <a:ext cx="5695950" cy="569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1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8A0CEC4-90A6-C51F-B7D1-AF302AA4C1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63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3" name="Chart 2">
                <a:extLst>
                  <a:ext uri="{FF2B5EF4-FFF2-40B4-BE49-F238E27FC236}">
                    <a16:creationId xmlns:a16="http://schemas.microsoft.com/office/drawing/2014/main" id="{B8B86DF6-211E-423A-90A9-659BF301600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05369554"/>
                  </p:ext>
                </p:extLst>
              </p:nvPr>
            </p:nvGraphicFramePr>
            <p:xfrm>
              <a:off x="523875" y="1266092"/>
              <a:ext cx="11411858" cy="488705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>
          <p:pic>
            <p:nvPicPr>
              <p:cNvPr id="3" name="Chart 2">
                <a:extLst>
                  <a:ext uri="{FF2B5EF4-FFF2-40B4-BE49-F238E27FC236}">
                    <a16:creationId xmlns:a16="http://schemas.microsoft.com/office/drawing/2014/main" id="{B8B86DF6-211E-423A-90A9-659BF30160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3875" y="1266092"/>
                <a:ext cx="11411858" cy="4887057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ítulo 1">
            <a:extLst>
              <a:ext uri="{FF2B5EF4-FFF2-40B4-BE49-F238E27FC236}">
                <a16:creationId xmlns:a16="http://schemas.microsoft.com/office/drawing/2014/main" id="{23C0870D-7014-B899-5CA2-D07F50AF6C1E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Valores da função objetivo</a:t>
            </a:r>
            <a:endParaRPr lang="pt-BR" sz="1400" b="1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9FE69E-D9D2-0D8A-DB3E-292CC1A73F7A}"/>
              </a:ext>
            </a:extLst>
          </p:cNvPr>
          <p:cNvSpPr txBox="1"/>
          <p:nvPr/>
        </p:nvSpPr>
        <p:spPr>
          <a:xfrm>
            <a:off x="8829675" y="1266093"/>
            <a:ext cx="22007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Máximo: 1417,03 km</a:t>
            </a:r>
          </a:p>
          <a:p>
            <a:r>
              <a:rPr lang="pt-BR" b="1" dirty="0"/>
              <a:t>Mínimo: 1033,57 km</a:t>
            </a:r>
          </a:p>
          <a:p>
            <a:r>
              <a:rPr lang="pt-BR" b="1" dirty="0"/>
              <a:t>Média: 1225,65 km</a:t>
            </a:r>
          </a:p>
        </p:txBody>
      </p:sp>
    </p:spTree>
    <p:extLst>
      <p:ext uri="{BB962C8B-B14F-4D97-AF65-F5344CB8AC3E}">
        <p14:creationId xmlns:p14="http://schemas.microsoft.com/office/powerpoint/2010/main" val="24081873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edifício, grande, mesa, estacionado">
            <a:extLst>
              <a:ext uri="{FF2B5EF4-FFF2-40B4-BE49-F238E27FC236}">
                <a16:creationId xmlns:a16="http://schemas.microsoft.com/office/drawing/2014/main" id="{F0540AFB-CC16-9E18-E333-D10D92E36B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0" r="13943"/>
          <a:stretch/>
        </p:blipFill>
        <p:spPr>
          <a:xfrm>
            <a:off x="0" y="0"/>
            <a:ext cx="6788727" cy="6858000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96EB9B50-C9B9-3D7A-5F82-D9A0AFCC5C03}"/>
              </a:ext>
            </a:extLst>
          </p:cNvPr>
          <p:cNvSpPr/>
          <p:nvPr/>
        </p:nvSpPr>
        <p:spPr>
          <a:xfrm>
            <a:off x="6442363" y="1233054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E7AEDA9B-BC1F-B014-2BBB-8FA3F88F6EAE}"/>
              </a:ext>
            </a:extLst>
          </p:cNvPr>
          <p:cNvSpPr/>
          <p:nvPr/>
        </p:nvSpPr>
        <p:spPr>
          <a:xfrm>
            <a:off x="6442363" y="2424545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35E51C98-4BA7-88D8-38AC-EDAF293BB3D7}"/>
              </a:ext>
            </a:extLst>
          </p:cNvPr>
          <p:cNvSpPr/>
          <p:nvPr/>
        </p:nvSpPr>
        <p:spPr>
          <a:xfrm>
            <a:off x="6442362" y="361603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585806DF-A8D8-032D-1A1F-FCA96278933A}"/>
              </a:ext>
            </a:extLst>
          </p:cNvPr>
          <p:cNvSpPr/>
          <p:nvPr/>
        </p:nvSpPr>
        <p:spPr>
          <a:xfrm>
            <a:off x="6442360" y="480752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A4FFC7D-59BE-5689-BAA5-D86ED54EBDB4}"/>
              </a:ext>
            </a:extLst>
          </p:cNvPr>
          <p:cNvSpPr txBox="1"/>
          <p:nvPr/>
        </p:nvSpPr>
        <p:spPr>
          <a:xfrm>
            <a:off x="7278254" y="143868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Geração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Exaustiv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Rotas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&amp;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ermutações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4BCE0FE-5D82-6F60-E434-F02748CF062F}"/>
              </a:ext>
            </a:extLst>
          </p:cNvPr>
          <p:cNvSpPr txBox="1"/>
          <p:nvPr/>
        </p:nvSpPr>
        <p:spPr>
          <a:xfrm>
            <a:off x="7278254" y="2586242"/>
            <a:ext cx="65601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Algoritmo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de Clarke &amp; Wright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69C0759-A578-7C45-D37D-A0498318A3B7}"/>
              </a:ext>
            </a:extLst>
          </p:cNvPr>
          <p:cNvSpPr txBox="1"/>
          <p:nvPr/>
        </p:nvSpPr>
        <p:spPr>
          <a:xfrm>
            <a:off x="7278254" y="3777733"/>
            <a:ext cx="68441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Heurístic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Construtiv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robabilística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69F93BF-74D9-FF55-BFED-B05968B27C62}"/>
              </a:ext>
            </a:extLst>
          </p:cNvPr>
          <p:cNvSpPr txBox="1"/>
          <p:nvPr/>
        </p:nvSpPr>
        <p:spPr>
          <a:xfrm>
            <a:off x="7278254" y="4969224"/>
            <a:ext cx="6989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Tempos de </a:t>
            </a:r>
            <a:r>
              <a:rPr lang="en-US" dirty="0" err="1"/>
              <a:t>Execu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8083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877D9994-FB4B-32BA-0B5F-5FF1D9BDFC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778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A1521689-6A3E-FC20-35B1-186884CDA0D1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Tempos de execução e resultados obtidos</a:t>
            </a:r>
            <a:endParaRPr lang="pt-BR" sz="1400" b="1" dirty="0">
              <a:latin typeface="+mn-lt"/>
            </a:endParaRPr>
          </a:p>
        </p:txBody>
      </p:sp>
      <p:graphicFrame>
        <p:nvGraphicFramePr>
          <p:cNvPr id="265" name="Chart 264">
            <a:extLst>
              <a:ext uri="{FF2B5EF4-FFF2-40B4-BE49-F238E27FC236}">
                <a16:creationId xmlns:a16="http://schemas.microsoft.com/office/drawing/2014/main" id="{2FEC93B6-E7F1-9E92-8B0B-78EE62FC933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602312"/>
              </p:ext>
            </p:extLst>
          </p:nvPr>
        </p:nvGraphicFramePr>
        <p:xfrm>
          <a:off x="1527175" y="3076575"/>
          <a:ext cx="913765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 useBgFill="1">
        <p:nvSpPr>
          <p:cNvPr id="245" name="Freeform: Shape 244">
            <a:extLst>
              <a:ext uri="{FF2B5EF4-FFF2-40B4-BE49-F238E27FC236}">
                <a16:creationId xmlns:a16="http://schemas.microsoft.com/office/drawing/2014/main" id="{56A9FC26-2B44-B891-E865-F3EB8723D3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13350" y="5207000"/>
            <a:ext cx="1763714" cy="531814"/>
          </a:xfrm>
          <a:custGeom>
            <a:avLst/>
            <a:gdLst/>
            <a:ahLst/>
            <a:cxnLst/>
            <a:rect l="0" t="0" r="0" b="0"/>
            <a:pathLst>
              <a:path w="1763714" h="531814">
                <a:moveTo>
                  <a:pt x="0" y="474663"/>
                </a:moveTo>
                <a:lnTo>
                  <a:pt x="1763713" y="0"/>
                </a:lnTo>
                <a:lnTo>
                  <a:pt x="1763713" y="57150"/>
                </a:lnTo>
                <a:lnTo>
                  <a:pt x="0" y="5318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 useBgFill="1">
        <p:nvSpPr>
          <p:cNvPr id="248" name="Freeform: Shape 247">
            <a:extLst>
              <a:ext uri="{FF2B5EF4-FFF2-40B4-BE49-F238E27FC236}">
                <a16:creationId xmlns:a16="http://schemas.microsoft.com/office/drawing/2014/main" id="{21765D5A-4236-0605-EF0F-23A5A175765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204200" y="5207000"/>
            <a:ext cx="1763714" cy="531814"/>
          </a:xfrm>
          <a:custGeom>
            <a:avLst/>
            <a:gdLst/>
            <a:ahLst/>
            <a:cxnLst/>
            <a:rect l="0" t="0" r="0" b="0"/>
            <a:pathLst>
              <a:path w="1763714" h="531814">
                <a:moveTo>
                  <a:pt x="0" y="474663"/>
                </a:moveTo>
                <a:lnTo>
                  <a:pt x="1763713" y="0"/>
                </a:lnTo>
                <a:lnTo>
                  <a:pt x="1763713" y="57150"/>
                </a:lnTo>
                <a:lnTo>
                  <a:pt x="0" y="5318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3" name="Freeform: Shape 242">
            <a:extLst>
              <a:ext uri="{FF2B5EF4-FFF2-40B4-BE49-F238E27FC236}">
                <a16:creationId xmlns:a16="http://schemas.microsoft.com/office/drawing/2014/main" id="{2C5E08BF-2887-6153-DCCB-D03FE897844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213350" y="5207000"/>
            <a:ext cx="1763714" cy="474664"/>
          </a:xfrm>
          <a:custGeom>
            <a:avLst/>
            <a:gdLst/>
            <a:ahLst/>
            <a:cxnLst/>
            <a:rect l="0" t="0" r="0" b="0"/>
            <a:pathLst>
              <a:path w="1763714" h="474664">
                <a:moveTo>
                  <a:pt x="0" y="474663"/>
                </a:moveTo>
                <a:lnTo>
                  <a:pt x="17637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4" name="Freeform: Shape 243">
            <a:extLst>
              <a:ext uri="{FF2B5EF4-FFF2-40B4-BE49-F238E27FC236}">
                <a16:creationId xmlns:a16="http://schemas.microsoft.com/office/drawing/2014/main" id="{6527E1F7-8899-8298-49DB-B7EAB47877F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213350" y="5264150"/>
            <a:ext cx="1763714" cy="474664"/>
          </a:xfrm>
          <a:custGeom>
            <a:avLst/>
            <a:gdLst/>
            <a:ahLst/>
            <a:cxnLst/>
            <a:rect l="0" t="0" r="0" b="0"/>
            <a:pathLst>
              <a:path w="1763714" h="474664">
                <a:moveTo>
                  <a:pt x="0" y="474663"/>
                </a:moveTo>
                <a:lnTo>
                  <a:pt x="17637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7EA5CE8A-9AD2-91ED-0C32-DF1FA251435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204200" y="5207000"/>
            <a:ext cx="1763714" cy="474664"/>
          </a:xfrm>
          <a:custGeom>
            <a:avLst/>
            <a:gdLst/>
            <a:ahLst/>
            <a:cxnLst/>
            <a:rect l="0" t="0" r="0" b="0"/>
            <a:pathLst>
              <a:path w="1763714" h="474664">
                <a:moveTo>
                  <a:pt x="0" y="474663"/>
                </a:moveTo>
                <a:lnTo>
                  <a:pt x="17637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F2C14287-5006-9495-C531-F77FAB1FAFE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204200" y="5264150"/>
            <a:ext cx="1763714" cy="474664"/>
          </a:xfrm>
          <a:custGeom>
            <a:avLst/>
            <a:gdLst/>
            <a:ahLst/>
            <a:cxnLst/>
            <a:rect l="0" t="0" r="0" b="0"/>
            <a:pathLst>
              <a:path w="1763714" h="474664">
                <a:moveTo>
                  <a:pt x="0" y="474663"/>
                </a:moveTo>
                <a:lnTo>
                  <a:pt x="17637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95563" y="6118225"/>
            <a:ext cx="1016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581C9C-62F3-4471-AC1D-A9DC85B64F9D}" type="datetime'''''''''Cl''a''rke ''''''''&amp;'''' W''''''r''''''i''g''''''ht'''">
              <a:rPr lang="pt-BR" altLang="en-US" sz="1200" b="1" smtClean="0"/>
              <a:pPr/>
              <a:t>Clarke &amp; Wright</a:t>
            </a:fld>
            <a:endParaRPr lang="pt-BR" sz="1200" b="1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1DE5E85F-51AE-3D36-FAF1-8B04F3CE8B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137150" y="6118225"/>
            <a:ext cx="1914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E88AC5-CB38-4C1E-B6BC-61B24ED2DB03}" type="datetime'''Cl''''''ark''''e &amp; Wrigh''t Pr''oba''''''b''ilís''tic''''o'">
              <a:rPr lang="pt-BR" altLang="en-US" sz="1200" b="1" smtClean="0"/>
              <a:pPr/>
              <a:t>Clarke &amp; Wright Probabilístico</a:t>
            </a:fld>
            <a:endParaRPr lang="pt-BR" sz="1200" b="1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D25CA317-A350-1CA2-F6A0-782CDD7B9CA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935913" y="6118225"/>
            <a:ext cx="23002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82B76E-301C-4C6D-BD11-2CE99B670A57}" type="datetime'''H''eurís''''ti''ca'' ''Constr''utiva Probab''i''''lística'">
              <a:rPr lang="pt-BR" altLang="en-US" sz="1200" b="1" smtClean="0"/>
              <a:pPr/>
              <a:t>Heurística Construtiva Probabilística</a:t>
            </a:fld>
            <a:endParaRPr lang="pt-BR" sz="1200" b="1" dirty="0"/>
          </a:p>
        </p:txBody>
      </p:sp>
      <p:sp>
        <p:nvSpPr>
          <p:cNvPr id="249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846763" y="2968625"/>
            <a:ext cx="495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EE97AF-DE9C-4849-9CD4-CF4B2587204A}" type="datetime'''''''2''''''''6''7'''''',7'''''''''''''' s'''">
              <a:rPr lang="pt-BR" altLang="en-US" sz="1200" smtClean="0"/>
              <a:pPr/>
              <a:t>267,7 s</a:t>
            </a:fld>
            <a:endParaRPr lang="pt-BR" sz="1200" dirty="0"/>
          </a:p>
        </p:txBody>
      </p:sp>
      <p:sp>
        <p:nvSpPr>
          <p:cNvPr id="251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837613" y="4991100"/>
            <a:ext cx="495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28C349-D78D-40DC-923B-099826C85D49}" type="datetime'''''2''''''''''''29,''''''''6'''''' s'''''''''''''''''">
              <a:rPr lang="pt-BR" altLang="en-US" sz="1200" smtClean="0"/>
              <a:pPr/>
              <a:t>229,6 s</a:t>
            </a:fld>
            <a:endParaRPr lang="pt-BR" sz="1200" dirty="0"/>
          </a:p>
        </p:txBody>
      </p: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1C91CC5F-F08A-D0C0-BBE8-91FB4B24D7D0}"/>
              </a:ext>
            </a:extLst>
          </p:cNvPr>
          <p:cNvGrpSpPr/>
          <p:nvPr/>
        </p:nvGrpSpPr>
        <p:grpSpPr>
          <a:xfrm>
            <a:off x="2532988" y="2080305"/>
            <a:ext cx="1244600" cy="557439"/>
            <a:chOff x="2196438" y="1965099"/>
            <a:chExt cx="1244600" cy="557439"/>
          </a:xfrm>
        </p:grpSpPr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A42854A-DFD8-4467-5053-C35F9AA822F3}"/>
                </a:ext>
              </a:extLst>
            </p:cNvPr>
            <p:cNvSpPr/>
            <p:nvPr/>
          </p:nvSpPr>
          <p:spPr>
            <a:xfrm>
              <a:off x="2196438" y="1965099"/>
              <a:ext cx="1144323" cy="557439"/>
            </a:xfrm>
            <a:custGeom>
              <a:avLst/>
              <a:gdLst>
                <a:gd name="connsiteX0" fmla="*/ 356746 w 1729241"/>
                <a:gd name="connsiteY0" fmla="*/ 579663 h 861469"/>
                <a:gd name="connsiteX1" fmla="*/ 40135 w 1729241"/>
                <a:gd name="connsiteY1" fmla="*/ 377225 h 861469"/>
                <a:gd name="connsiteX2" fmla="*/ 868810 w 1729241"/>
                <a:gd name="connsiteY2" fmla="*/ 48676 h 861469"/>
                <a:gd name="connsiteX3" fmla="*/ 1692659 w 1729241"/>
                <a:gd name="connsiteY3" fmla="*/ 470062 h 861469"/>
                <a:gd name="connsiteX4" fmla="*/ 1028322 w 1729241"/>
                <a:gd name="connsiteY4" fmla="*/ 796325 h 861469"/>
                <a:gd name="connsiteX5" fmla="*/ 131321 w 1729241"/>
                <a:gd name="connsiteY5" fmla="*/ 732825 h 861469"/>
                <a:gd name="connsiteX6" fmla="*/ 1010034 w 1729241"/>
                <a:gd name="connsiteY6" fmla="*/ 840013 h 861469"/>
                <a:gd name="connsiteX7" fmla="*/ 1729235 w 1729241"/>
                <a:gd name="connsiteY7" fmla="*/ 468538 h 861469"/>
                <a:gd name="connsiteX8" fmla="*/ 878716 w 1729241"/>
                <a:gd name="connsiteY8" fmla="*/ 2829 h 861469"/>
                <a:gd name="connsiteX9" fmla="*/ 3 w 1729241"/>
                <a:gd name="connsiteY9" fmla="*/ 381416 h 861469"/>
                <a:gd name="connsiteX10" fmla="*/ 356746 w 1729241"/>
                <a:gd name="connsiteY10" fmla="*/ 579663 h 861469"/>
                <a:gd name="connsiteX0" fmla="*/ 356746 w 1729241"/>
                <a:gd name="connsiteY0" fmla="*/ 579663 h 861469"/>
                <a:gd name="connsiteX1" fmla="*/ 40135 w 1729241"/>
                <a:gd name="connsiteY1" fmla="*/ 377225 h 861469"/>
                <a:gd name="connsiteX2" fmla="*/ 868810 w 1729241"/>
                <a:gd name="connsiteY2" fmla="*/ 48676 h 861469"/>
                <a:gd name="connsiteX3" fmla="*/ 1692659 w 1729241"/>
                <a:gd name="connsiteY3" fmla="*/ 470062 h 861469"/>
                <a:gd name="connsiteX4" fmla="*/ 1028322 w 1729241"/>
                <a:gd name="connsiteY4" fmla="*/ 796325 h 861469"/>
                <a:gd name="connsiteX5" fmla="*/ 131321 w 1729241"/>
                <a:gd name="connsiteY5" fmla="*/ 732825 h 861469"/>
                <a:gd name="connsiteX6" fmla="*/ 1010034 w 1729241"/>
                <a:gd name="connsiteY6" fmla="*/ 840013 h 861469"/>
                <a:gd name="connsiteX7" fmla="*/ 1729235 w 1729241"/>
                <a:gd name="connsiteY7" fmla="*/ 468538 h 861469"/>
                <a:gd name="connsiteX8" fmla="*/ 878716 w 1729241"/>
                <a:gd name="connsiteY8" fmla="*/ 2829 h 861469"/>
                <a:gd name="connsiteX9" fmla="*/ 3 w 1729241"/>
                <a:gd name="connsiteY9" fmla="*/ 381416 h 861469"/>
                <a:gd name="connsiteX10" fmla="*/ 356746 w 1729241"/>
                <a:gd name="connsiteY10" fmla="*/ 579663 h 861469"/>
                <a:gd name="connsiteX0" fmla="*/ 356746 w 1729241"/>
                <a:gd name="connsiteY0" fmla="*/ 579663 h 861469"/>
                <a:gd name="connsiteX1" fmla="*/ 40135 w 1729241"/>
                <a:gd name="connsiteY1" fmla="*/ 377225 h 861469"/>
                <a:gd name="connsiteX2" fmla="*/ 868810 w 1729241"/>
                <a:gd name="connsiteY2" fmla="*/ 48676 h 861469"/>
                <a:gd name="connsiteX3" fmla="*/ 1692659 w 1729241"/>
                <a:gd name="connsiteY3" fmla="*/ 470062 h 861469"/>
                <a:gd name="connsiteX4" fmla="*/ 1028322 w 1729241"/>
                <a:gd name="connsiteY4" fmla="*/ 796325 h 861469"/>
                <a:gd name="connsiteX5" fmla="*/ 131321 w 1729241"/>
                <a:gd name="connsiteY5" fmla="*/ 732825 h 861469"/>
                <a:gd name="connsiteX6" fmla="*/ 1010034 w 1729241"/>
                <a:gd name="connsiteY6" fmla="*/ 840013 h 861469"/>
                <a:gd name="connsiteX7" fmla="*/ 1729235 w 1729241"/>
                <a:gd name="connsiteY7" fmla="*/ 468538 h 861469"/>
                <a:gd name="connsiteX8" fmla="*/ 878716 w 1729241"/>
                <a:gd name="connsiteY8" fmla="*/ 2829 h 861469"/>
                <a:gd name="connsiteX9" fmla="*/ 3 w 1729241"/>
                <a:gd name="connsiteY9" fmla="*/ 381416 h 861469"/>
                <a:gd name="connsiteX10" fmla="*/ 356746 w 1729241"/>
                <a:gd name="connsiteY10" fmla="*/ 579663 h 861469"/>
                <a:gd name="connsiteX0" fmla="*/ 356746 w 1729241"/>
                <a:gd name="connsiteY0" fmla="*/ 579663 h 861469"/>
                <a:gd name="connsiteX1" fmla="*/ 40135 w 1729241"/>
                <a:gd name="connsiteY1" fmla="*/ 377225 h 861469"/>
                <a:gd name="connsiteX2" fmla="*/ 868810 w 1729241"/>
                <a:gd name="connsiteY2" fmla="*/ 48676 h 861469"/>
                <a:gd name="connsiteX3" fmla="*/ 1692659 w 1729241"/>
                <a:gd name="connsiteY3" fmla="*/ 470062 h 861469"/>
                <a:gd name="connsiteX4" fmla="*/ 1028322 w 1729241"/>
                <a:gd name="connsiteY4" fmla="*/ 796325 h 861469"/>
                <a:gd name="connsiteX5" fmla="*/ 131321 w 1729241"/>
                <a:gd name="connsiteY5" fmla="*/ 732825 h 861469"/>
                <a:gd name="connsiteX6" fmla="*/ 1010034 w 1729241"/>
                <a:gd name="connsiteY6" fmla="*/ 840013 h 861469"/>
                <a:gd name="connsiteX7" fmla="*/ 1729235 w 1729241"/>
                <a:gd name="connsiteY7" fmla="*/ 468538 h 861469"/>
                <a:gd name="connsiteX8" fmla="*/ 878716 w 1729241"/>
                <a:gd name="connsiteY8" fmla="*/ 2829 h 861469"/>
                <a:gd name="connsiteX9" fmla="*/ 3 w 1729241"/>
                <a:gd name="connsiteY9" fmla="*/ 381416 h 861469"/>
                <a:gd name="connsiteX10" fmla="*/ 356746 w 1729241"/>
                <a:gd name="connsiteY10" fmla="*/ 579663 h 861469"/>
                <a:gd name="connsiteX0" fmla="*/ 356746 w 1729241"/>
                <a:gd name="connsiteY0" fmla="*/ 579663 h 861981"/>
                <a:gd name="connsiteX1" fmla="*/ 40135 w 1729241"/>
                <a:gd name="connsiteY1" fmla="*/ 377225 h 861981"/>
                <a:gd name="connsiteX2" fmla="*/ 868810 w 1729241"/>
                <a:gd name="connsiteY2" fmla="*/ 48676 h 861981"/>
                <a:gd name="connsiteX3" fmla="*/ 1692659 w 1729241"/>
                <a:gd name="connsiteY3" fmla="*/ 470062 h 861981"/>
                <a:gd name="connsiteX4" fmla="*/ 1028322 w 1729241"/>
                <a:gd name="connsiteY4" fmla="*/ 796325 h 861981"/>
                <a:gd name="connsiteX5" fmla="*/ 131321 w 1729241"/>
                <a:gd name="connsiteY5" fmla="*/ 732825 h 861981"/>
                <a:gd name="connsiteX6" fmla="*/ 1010034 w 1729241"/>
                <a:gd name="connsiteY6" fmla="*/ 840013 h 861981"/>
                <a:gd name="connsiteX7" fmla="*/ 1729235 w 1729241"/>
                <a:gd name="connsiteY7" fmla="*/ 468538 h 861981"/>
                <a:gd name="connsiteX8" fmla="*/ 878716 w 1729241"/>
                <a:gd name="connsiteY8" fmla="*/ 2829 h 861981"/>
                <a:gd name="connsiteX9" fmla="*/ 3 w 1729241"/>
                <a:gd name="connsiteY9" fmla="*/ 381416 h 861981"/>
                <a:gd name="connsiteX10" fmla="*/ 356746 w 1729241"/>
                <a:gd name="connsiteY10" fmla="*/ 579663 h 861981"/>
                <a:gd name="connsiteX0" fmla="*/ 356746 w 1729241"/>
                <a:gd name="connsiteY0" fmla="*/ 579663 h 861981"/>
                <a:gd name="connsiteX1" fmla="*/ 40135 w 1729241"/>
                <a:gd name="connsiteY1" fmla="*/ 377225 h 861981"/>
                <a:gd name="connsiteX2" fmla="*/ 868810 w 1729241"/>
                <a:gd name="connsiteY2" fmla="*/ 48676 h 861981"/>
                <a:gd name="connsiteX3" fmla="*/ 1692659 w 1729241"/>
                <a:gd name="connsiteY3" fmla="*/ 470062 h 861981"/>
                <a:gd name="connsiteX4" fmla="*/ 1028322 w 1729241"/>
                <a:gd name="connsiteY4" fmla="*/ 796325 h 861981"/>
                <a:gd name="connsiteX5" fmla="*/ 131321 w 1729241"/>
                <a:gd name="connsiteY5" fmla="*/ 732825 h 861981"/>
                <a:gd name="connsiteX6" fmla="*/ 1010034 w 1729241"/>
                <a:gd name="connsiteY6" fmla="*/ 840013 h 861981"/>
                <a:gd name="connsiteX7" fmla="*/ 1729235 w 1729241"/>
                <a:gd name="connsiteY7" fmla="*/ 468538 h 861981"/>
                <a:gd name="connsiteX8" fmla="*/ 878716 w 1729241"/>
                <a:gd name="connsiteY8" fmla="*/ 2829 h 861981"/>
                <a:gd name="connsiteX9" fmla="*/ 3 w 1729241"/>
                <a:gd name="connsiteY9" fmla="*/ 381416 h 861981"/>
                <a:gd name="connsiteX10" fmla="*/ 356746 w 1729241"/>
                <a:gd name="connsiteY10" fmla="*/ 579663 h 861981"/>
                <a:gd name="connsiteX0" fmla="*/ 356746 w 1729241"/>
                <a:gd name="connsiteY0" fmla="*/ 579663 h 861981"/>
                <a:gd name="connsiteX1" fmla="*/ 40135 w 1729241"/>
                <a:gd name="connsiteY1" fmla="*/ 377225 h 861981"/>
                <a:gd name="connsiteX2" fmla="*/ 868810 w 1729241"/>
                <a:gd name="connsiteY2" fmla="*/ 48676 h 861981"/>
                <a:gd name="connsiteX3" fmla="*/ 1692659 w 1729241"/>
                <a:gd name="connsiteY3" fmla="*/ 470062 h 861981"/>
                <a:gd name="connsiteX4" fmla="*/ 1028322 w 1729241"/>
                <a:gd name="connsiteY4" fmla="*/ 796325 h 861981"/>
                <a:gd name="connsiteX5" fmla="*/ 131321 w 1729241"/>
                <a:gd name="connsiteY5" fmla="*/ 732825 h 861981"/>
                <a:gd name="connsiteX6" fmla="*/ 1010034 w 1729241"/>
                <a:gd name="connsiteY6" fmla="*/ 840013 h 861981"/>
                <a:gd name="connsiteX7" fmla="*/ 1729235 w 1729241"/>
                <a:gd name="connsiteY7" fmla="*/ 468538 h 861981"/>
                <a:gd name="connsiteX8" fmla="*/ 878716 w 1729241"/>
                <a:gd name="connsiteY8" fmla="*/ 2829 h 861981"/>
                <a:gd name="connsiteX9" fmla="*/ 3 w 1729241"/>
                <a:gd name="connsiteY9" fmla="*/ 381416 h 861981"/>
                <a:gd name="connsiteX10" fmla="*/ 356746 w 1729241"/>
                <a:gd name="connsiteY10" fmla="*/ 579663 h 861981"/>
                <a:gd name="connsiteX0" fmla="*/ 356746 w 1729241"/>
                <a:gd name="connsiteY0" fmla="*/ 579663 h 861981"/>
                <a:gd name="connsiteX1" fmla="*/ 40135 w 1729241"/>
                <a:gd name="connsiteY1" fmla="*/ 377225 h 861981"/>
                <a:gd name="connsiteX2" fmla="*/ 868810 w 1729241"/>
                <a:gd name="connsiteY2" fmla="*/ 48676 h 861981"/>
                <a:gd name="connsiteX3" fmla="*/ 1692659 w 1729241"/>
                <a:gd name="connsiteY3" fmla="*/ 470062 h 861981"/>
                <a:gd name="connsiteX4" fmla="*/ 1028322 w 1729241"/>
                <a:gd name="connsiteY4" fmla="*/ 796325 h 861981"/>
                <a:gd name="connsiteX5" fmla="*/ 131321 w 1729241"/>
                <a:gd name="connsiteY5" fmla="*/ 732825 h 861981"/>
                <a:gd name="connsiteX6" fmla="*/ 1010034 w 1729241"/>
                <a:gd name="connsiteY6" fmla="*/ 840013 h 861981"/>
                <a:gd name="connsiteX7" fmla="*/ 1729235 w 1729241"/>
                <a:gd name="connsiteY7" fmla="*/ 468538 h 861981"/>
                <a:gd name="connsiteX8" fmla="*/ 878716 w 1729241"/>
                <a:gd name="connsiteY8" fmla="*/ 2829 h 861981"/>
                <a:gd name="connsiteX9" fmla="*/ 3 w 1729241"/>
                <a:gd name="connsiteY9" fmla="*/ 381416 h 861981"/>
                <a:gd name="connsiteX10" fmla="*/ 356746 w 1729241"/>
                <a:gd name="connsiteY10" fmla="*/ 579663 h 8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9241" h="861981">
                  <a:moveTo>
                    <a:pt x="356746" y="579663"/>
                  </a:moveTo>
                  <a:cubicBezTo>
                    <a:pt x="187709" y="558200"/>
                    <a:pt x="45205" y="474756"/>
                    <a:pt x="40135" y="377225"/>
                  </a:cubicBezTo>
                  <a:cubicBezTo>
                    <a:pt x="35309" y="284388"/>
                    <a:pt x="287771" y="8362"/>
                    <a:pt x="868810" y="48676"/>
                  </a:cubicBezTo>
                  <a:cubicBezTo>
                    <a:pt x="1383160" y="84363"/>
                    <a:pt x="1693392" y="296067"/>
                    <a:pt x="1692659" y="470062"/>
                  </a:cubicBezTo>
                  <a:cubicBezTo>
                    <a:pt x="1691897" y="651037"/>
                    <a:pt x="1393297" y="728833"/>
                    <a:pt x="1028322" y="796325"/>
                  </a:cubicBezTo>
                  <a:cubicBezTo>
                    <a:pt x="779021" y="842426"/>
                    <a:pt x="412372" y="840013"/>
                    <a:pt x="131321" y="732825"/>
                  </a:cubicBezTo>
                  <a:cubicBezTo>
                    <a:pt x="250447" y="868588"/>
                    <a:pt x="745937" y="883966"/>
                    <a:pt x="1010034" y="840013"/>
                  </a:cubicBezTo>
                  <a:cubicBezTo>
                    <a:pt x="1276353" y="795690"/>
                    <a:pt x="1727167" y="729195"/>
                    <a:pt x="1729235" y="468538"/>
                  </a:cubicBezTo>
                  <a:cubicBezTo>
                    <a:pt x="1731267" y="212379"/>
                    <a:pt x="1281469" y="24059"/>
                    <a:pt x="878716" y="2829"/>
                  </a:cubicBezTo>
                  <a:cubicBezTo>
                    <a:pt x="211331" y="-32350"/>
                    <a:pt x="690" y="269970"/>
                    <a:pt x="3" y="381416"/>
                  </a:cubicBezTo>
                  <a:cubicBezTo>
                    <a:pt x="-632" y="484413"/>
                    <a:pt x="125606" y="615350"/>
                    <a:pt x="356746" y="579663"/>
                  </a:cubicBezTo>
                  <a:close/>
                </a:path>
              </a:pathLst>
            </a:custGeom>
            <a:solidFill>
              <a:srgbClr val="002C77"/>
            </a:solidFill>
            <a:ln w="12700">
              <a:solidFill>
                <a:srgbClr val="002C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EDC27C06-DC13-9CCA-CE29-94659A533DCD}"/>
                </a:ext>
              </a:extLst>
            </p:cNvPr>
            <p:cNvSpPr txBox="1"/>
            <p:nvPr/>
          </p:nvSpPr>
          <p:spPr>
            <a:xfrm>
              <a:off x="2196438" y="2089929"/>
              <a:ext cx="12446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pt-BR" sz="1400" b="1" dirty="0">
                  <a:latin typeface="+mn-lt"/>
                </a:rPr>
                <a:t>982.5 km </a:t>
              </a:r>
              <a:endParaRPr lang="pt-BR" sz="1400" dirty="0"/>
            </a:p>
          </p:txBody>
        </p:sp>
      </p:grpSp>
      <p:sp>
        <p:nvSpPr>
          <p:cNvPr id="254" name="Freeform: Shape 253">
            <a:extLst>
              <a:ext uri="{FF2B5EF4-FFF2-40B4-BE49-F238E27FC236}">
                <a16:creationId xmlns:a16="http://schemas.microsoft.com/office/drawing/2014/main" id="{B80EBC6B-2AC1-8517-FE72-965EB3A9CBC4}"/>
              </a:ext>
            </a:extLst>
          </p:cNvPr>
          <p:cNvSpPr/>
          <p:nvPr/>
        </p:nvSpPr>
        <p:spPr>
          <a:xfrm>
            <a:off x="5472112" y="2050825"/>
            <a:ext cx="1144323" cy="557439"/>
          </a:xfrm>
          <a:custGeom>
            <a:avLst/>
            <a:gdLst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9241" h="861981">
                <a:moveTo>
                  <a:pt x="356746" y="579663"/>
                </a:moveTo>
                <a:cubicBezTo>
                  <a:pt x="187709" y="558200"/>
                  <a:pt x="45205" y="474756"/>
                  <a:pt x="40135" y="377225"/>
                </a:cubicBezTo>
                <a:cubicBezTo>
                  <a:pt x="35309" y="284388"/>
                  <a:pt x="287771" y="8362"/>
                  <a:pt x="868810" y="48676"/>
                </a:cubicBezTo>
                <a:cubicBezTo>
                  <a:pt x="1383160" y="84363"/>
                  <a:pt x="1693392" y="296067"/>
                  <a:pt x="1692659" y="470062"/>
                </a:cubicBezTo>
                <a:cubicBezTo>
                  <a:pt x="1691897" y="651037"/>
                  <a:pt x="1393297" y="728833"/>
                  <a:pt x="1028322" y="796325"/>
                </a:cubicBezTo>
                <a:cubicBezTo>
                  <a:pt x="779021" y="842426"/>
                  <a:pt x="412372" y="840013"/>
                  <a:pt x="131321" y="732825"/>
                </a:cubicBezTo>
                <a:cubicBezTo>
                  <a:pt x="250447" y="868588"/>
                  <a:pt x="745937" y="883966"/>
                  <a:pt x="1010034" y="840013"/>
                </a:cubicBezTo>
                <a:cubicBezTo>
                  <a:pt x="1276353" y="795690"/>
                  <a:pt x="1727167" y="729195"/>
                  <a:pt x="1729235" y="468538"/>
                </a:cubicBezTo>
                <a:cubicBezTo>
                  <a:pt x="1731267" y="212379"/>
                  <a:pt x="1281469" y="24059"/>
                  <a:pt x="878716" y="2829"/>
                </a:cubicBezTo>
                <a:cubicBezTo>
                  <a:pt x="211331" y="-32350"/>
                  <a:pt x="690" y="269970"/>
                  <a:pt x="3" y="381416"/>
                </a:cubicBezTo>
                <a:cubicBezTo>
                  <a:pt x="-632" y="484413"/>
                  <a:pt x="125606" y="615350"/>
                  <a:pt x="356746" y="579663"/>
                </a:cubicBezTo>
                <a:close/>
              </a:path>
            </a:pathLst>
          </a:custGeom>
          <a:solidFill>
            <a:srgbClr val="002C77"/>
          </a:solidFill>
          <a:ln w="12700">
            <a:solidFill>
              <a:srgbClr val="002C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D8318013-0C00-4DFA-F490-0061D3168D49}"/>
              </a:ext>
            </a:extLst>
          </p:cNvPr>
          <p:cNvSpPr txBox="1"/>
          <p:nvPr/>
        </p:nvSpPr>
        <p:spPr>
          <a:xfrm>
            <a:off x="5472112" y="2175655"/>
            <a:ext cx="12446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b="1" dirty="0"/>
              <a:t>960,72</a:t>
            </a:r>
            <a:r>
              <a:rPr lang="pt-BR" sz="1400" b="1" dirty="0">
                <a:latin typeface="+mn-lt"/>
              </a:rPr>
              <a:t> km </a:t>
            </a:r>
            <a:endParaRPr lang="pt-BR" sz="1400" dirty="0"/>
          </a:p>
        </p:txBody>
      </p:sp>
      <p:sp>
        <p:nvSpPr>
          <p:cNvPr id="257" name="Freeform: Shape 256">
            <a:extLst>
              <a:ext uri="{FF2B5EF4-FFF2-40B4-BE49-F238E27FC236}">
                <a16:creationId xmlns:a16="http://schemas.microsoft.com/office/drawing/2014/main" id="{AF440D86-F762-1FED-614D-32896D763A5A}"/>
              </a:ext>
            </a:extLst>
          </p:cNvPr>
          <p:cNvSpPr/>
          <p:nvPr/>
        </p:nvSpPr>
        <p:spPr>
          <a:xfrm>
            <a:off x="8519237" y="2050825"/>
            <a:ext cx="1144323" cy="557439"/>
          </a:xfrm>
          <a:custGeom>
            <a:avLst/>
            <a:gdLst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9241" h="861981">
                <a:moveTo>
                  <a:pt x="356746" y="579663"/>
                </a:moveTo>
                <a:cubicBezTo>
                  <a:pt x="187709" y="558200"/>
                  <a:pt x="45205" y="474756"/>
                  <a:pt x="40135" y="377225"/>
                </a:cubicBezTo>
                <a:cubicBezTo>
                  <a:pt x="35309" y="284388"/>
                  <a:pt x="287771" y="8362"/>
                  <a:pt x="868810" y="48676"/>
                </a:cubicBezTo>
                <a:cubicBezTo>
                  <a:pt x="1383160" y="84363"/>
                  <a:pt x="1693392" y="296067"/>
                  <a:pt x="1692659" y="470062"/>
                </a:cubicBezTo>
                <a:cubicBezTo>
                  <a:pt x="1691897" y="651037"/>
                  <a:pt x="1393297" y="728833"/>
                  <a:pt x="1028322" y="796325"/>
                </a:cubicBezTo>
                <a:cubicBezTo>
                  <a:pt x="779021" y="842426"/>
                  <a:pt x="412372" y="840013"/>
                  <a:pt x="131321" y="732825"/>
                </a:cubicBezTo>
                <a:cubicBezTo>
                  <a:pt x="250447" y="868588"/>
                  <a:pt x="745937" y="883966"/>
                  <a:pt x="1010034" y="840013"/>
                </a:cubicBezTo>
                <a:cubicBezTo>
                  <a:pt x="1276353" y="795690"/>
                  <a:pt x="1727167" y="729195"/>
                  <a:pt x="1729235" y="468538"/>
                </a:cubicBezTo>
                <a:cubicBezTo>
                  <a:pt x="1731267" y="212379"/>
                  <a:pt x="1281469" y="24059"/>
                  <a:pt x="878716" y="2829"/>
                </a:cubicBezTo>
                <a:cubicBezTo>
                  <a:pt x="211331" y="-32350"/>
                  <a:pt x="690" y="269970"/>
                  <a:pt x="3" y="381416"/>
                </a:cubicBezTo>
                <a:cubicBezTo>
                  <a:pt x="-632" y="484413"/>
                  <a:pt x="125606" y="615350"/>
                  <a:pt x="356746" y="579663"/>
                </a:cubicBezTo>
                <a:close/>
              </a:path>
            </a:pathLst>
          </a:custGeom>
          <a:solidFill>
            <a:srgbClr val="002C77"/>
          </a:solidFill>
          <a:ln w="12700">
            <a:solidFill>
              <a:srgbClr val="002C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FAA5C893-A54D-4842-B98A-44B98B6D60DA}"/>
              </a:ext>
            </a:extLst>
          </p:cNvPr>
          <p:cNvSpPr txBox="1"/>
          <p:nvPr/>
        </p:nvSpPr>
        <p:spPr>
          <a:xfrm>
            <a:off x="8519237" y="2175655"/>
            <a:ext cx="12446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b="1" dirty="0"/>
              <a:t>1033,57 k</a:t>
            </a:r>
            <a:r>
              <a:rPr lang="pt-BR" sz="1400" b="1" dirty="0">
                <a:latin typeface="+mn-lt"/>
              </a:rPr>
              <a:t>m </a:t>
            </a:r>
            <a:endParaRPr lang="pt-BR" sz="1400" dirty="0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04790862-7845-1332-757F-B838A3C1FEF5}"/>
              </a:ext>
            </a:extLst>
          </p:cNvPr>
          <p:cNvSpPr txBox="1"/>
          <p:nvPr/>
        </p:nvSpPr>
        <p:spPr>
          <a:xfrm>
            <a:off x="415694" y="935066"/>
            <a:ext cx="10862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O maior tempo de execução das abordagens probabilísticas não mostrou grande capacidade em reduzir a solução do Clarke &amp; Wright original</a:t>
            </a:r>
          </a:p>
        </p:txBody>
      </p:sp>
    </p:spTree>
    <p:extLst>
      <p:ext uri="{BB962C8B-B14F-4D97-AF65-F5344CB8AC3E}">
        <p14:creationId xmlns:p14="http://schemas.microsoft.com/office/powerpoint/2010/main" val="2985951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edifício, grande, mesa, estacionado">
            <a:extLst>
              <a:ext uri="{FF2B5EF4-FFF2-40B4-BE49-F238E27FC236}">
                <a16:creationId xmlns:a16="http://schemas.microsoft.com/office/drawing/2014/main" id="{F0540AFB-CC16-9E18-E333-D10D92E36B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0" r="13943"/>
          <a:stretch/>
        </p:blipFill>
        <p:spPr>
          <a:xfrm>
            <a:off x="0" y="0"/>
            <a:ext cx="6788727" cy="6858000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96EB9B50-C9B9-3D7A-5F82-D9A0AFCC5C03}"/>
              </a:ext>
            </a:extLst>
          </p:cNvPr>
          <p:cNvSpPr/>
          <p:nvPr/>
        </p:nvSpPr>
        <p:spPr>
          <a:xfrm>
            <a:off x="6442363" y="1233054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2">
                    <a:lumMod val="25000"/>
                  </a:schemeClr>
                </a:solidFill>
              </a:rPr>
              <a:t>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E7AEDA9B-BC1F-B014-2BBB-8FA3F88F6EAE}"/>
              </a:ext>
            </a:extLst>
          </p:cNvPr>
          <p:cNvSpPr/>
          <p:nvPr/>
        </p:nvSpPr>
        <p:spPr>
          <a:xfrm>
            <a:off x="6442363" y="2424545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35E51C98-4BA7-88D8-38AC-EDAF293BB3D7}"/>
              </a:ext>
            </a:extLst>
          </p:cNvPr>
          <p:cNvSpPr/>
          <p:nvPr/>
        </p:nvSpPr>
        <p:spPr>
          <a:xfrm>
            <a:off x="6442362" y="361603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585806DF-A8D8-032D-1A1F-FCA96278933A}"/>
              </a:ext>
            </a:extLst>
          </p:cNvPr>
          <p:cNvSpPr/>
          <p:nvPr/>
        </p:nvSpPr>
        <p:spPr>
          <a:xfrm>
            <a:off x="6442360" y="480752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A4FFC7D-59BE-5689-BAA5-D86ED54EBDB4}"/>
              </a:ext>
            </a:extLst>
          </p:cNvPr>
          <p:cNvSpPr txBox="1"/>
          <p:nvPr/>
        </p:nvSpPr>
        <p:spPr>
          <a:xfrm>
            <a:off x="7278254" y="143868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Geração</a:t>
            </a:r>
            <a:r>
              <a:rPr lang="en-US" dirty="0"/>
              <a:t> </a:t>
            </a:r>
            <a:r>
              <a:rPr lang="en-US" dirty="0" err="1"/>
              <a:t>Exaustiva</a:t>
            </a:r>
            <a:r>
              <a:rPr lang="en-US" dirty="0"/>
              <a:t> de </a:t>
            </a:r>
            <a:r>
              <a:rPr lang="en-US" dirty="0" err="1"/>
              <a:t>Rotas</a:t>
            </a:r>
            <a:r>
              <a:rPr lang="en-US" dirty="0"/>
              <a:t> &amp; </a:t>
            </a:r>
            <a:r>
              <a:rPr lang="en-US" dirty="0" err="1"/>
              <a:t>Permutações</a:t>
            </a:r>
            <a:endParaRPr lang="en-US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4BCE0FE-5D82-6F60-E434-F02748CF062F}"/>
              </a:ext>
            </a:extLst>
          </p:cNvPr>
          <p:cNvSpPr txBox="1"/>
          <p:nvPr/>
        </p:nvSpPr>
        <p:spPr>
          <a:xfrm>
            <a:off x="7278254" y="2586242"/>
            <a:ext cx="65601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Algoritmo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de Clarke &amp; Wright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69C0759-A578-7C45-D37D-A0498318A3B7}"/>
              </a:ext>
            </a:extLst>
          </p:cNvPr>
          <p:cNvSpPr txBox="1"/>
          <p:nvPr/>
        </p:nvSpPr>
        <p:spPr>
          <a:xfrm>
            <a:off x="7278254" y="3777733"/>
            <a:ext cx="68441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Heurístic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Construtiv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robabilística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CaixaDeTexto 14">
            <a:extLst>
              <a:ext uri="{FF2B5EF4-FFF2-40B4-BE49-F238E27FC236}">
                <a16:creationId xmlns:a16="http://schemas.microsoft.com/office/drawing/2014/main" id="{9A01433C-AA8C-6A11-B738-B9619F2326B9}"/>
              </a:ext>
            </a:extLst>
          </p:cNvPr>
          <p:cNvSpPr txBox="1"/>
          <p:nvPr/>
        </p:nvSpPr>
        <p:spPr>
          <a:xfrm>
            <a:off x="7278254" y="4969224"/>
            <a:ext cx="6989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Tempos de </a:t>
            </a:r>
            <a:r>
              <a:rPr lang="en-US" dirty="0" err="1"/>
              <a:t>Execu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074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9A36A0E-1D7B-4988-8899-DB25FC2777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903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28C50C81-2E34-45AC-B5C5-330003A95797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Estratégias para redução do tempo de execução do algoritmo envolvem reduzir combinações e permutações avaliadas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1584ECCC-59F6-864F-B06B-6A874384E32B}"/>
              </a:ext>
            </a:extLst>
          </p:cNvPr>
          <p:cNvSpPr txBox="1"/>
          <p:nvPr/>
        </p:nvSpPr>
        <p:spPr>
          <a:xfrm>
            <a:off x="1669143" y="1306181"/>
            <a:ext cx="9564914" cy="1357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400" b="1" dirty="0">
                <a:solidFill>
                  <a:schemeClr val="bg1">
                    <a:lumMod val="50000"/>
                  </a:schemeClr>
                </a:solidFill>
              </a:rPr>
              <a:t>Calcular máximo de clientes na rota:</a:t>
            </a:r>
          </a:p>
          <a:p>
            <a:pPr algn="l">
              <a:lnSpc>
                <a:spcPct val="90000"/>
              </a:lnSpc>
            </a:pPr>
            <a:r>
              <a:rPr lang="pt-BR" sz="1400" dirty="0"/>
              <a:t>Uma forma de reduzir a quantidade de combinações geradas é definir qual o máximo de clientes que uma dada capacidade comporta, Pode-se fazer isso com o seguinte método:</a:t>
            </a:r>
          </a:p>
          <a:p>
            <a:pPr algn="l">
              <a:lnSpc>
                <a:spcPct val="90000"/>
              </a:lnSpc>
            </a:pPr>
            <a:endParaRPr lang="pt-BR" sz="1400" dirty="0"/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pt-BR" sz="1400" dirty="0"/>
              <a:t>Ordenar lista de clientes considerados por demanda crescente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pt-BR" sz="1400" dirty="0"/>
              <a:t>Iterar a lista, somando a demanda, até atingir a capacidade do veículo</a:t>
            </a:r>
          </a:p>
          <a:p>
            <a:pPr marL="342900" indent="-342900" algn="l">
              <a:lnSpc>
                <a:spcPct val="90000"/>
              </a:lnSpc>
              <a:buAutoNum type="arabicPeriod"/>
            </a:pPr>
            <a:r>
              <a:rPr lang="pt-BR" sz="1400" dirty="0"/>
              <a:t>Contabilizar quantos clientes foram necessários para atingir a demanda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FF43BABA-223F-3914-3E2D-94C3AB4234AF}"/>
              </a:ext>
            </a:extLst>
          </p:cNvPr>
          <p:cNvSpPr txBox="1"/>
          <p:nvPr/>
        </p:nvSpPr>
        <p:spPr>
          <a:xfrm>
            <a:off x="1650513" y="3068379"/>
            <a:ext cx="9424209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400" b="1" dirty="0">
                <a:solidFill>
                  <a:schemeClr val="bg1">
                    <a:lumMod val="50000"/>
                  </a:schemeClr>
                </a:solidFill>
              </a:rPr>
              <a:t>Avaliar se a combinação respeita o limite de capacidade</a:t>
            </a:r>
          </a:p>
          <a:p>
            <a:pPr algn="l">
              <a:lnSpc>
                <a:spcPct val="90000"/>
              </a:lnSpc>
            </a:pPr>
            <a:r>
              <a:rPr lang="pt-BR" sz="1400" dirty="0"/>
              <a:t>Para reduzir uso de memória, não se deve armazenar todas as combinações nem gerar as permutações para todas elas, O ideal é</a:t>
            </a:r>
          </a:p>
          <a:p>
            <a:pPr algn="l">
              <a:lnSpc>
                <a:spcPct val="90000"/>
              </a:lnSpc>
            </a:pPr>
            <a:endParaRPr lang="pt-BR" sz="1400" dirty="0"/>
          </a:p>
          <a:p>
            <a:pPr marL="177800" indent="-177800">
              <a:lnSpc>
                <a:spcPct val="90000"/>
              </a:lnSpc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pt-BR" sz="1400" dirty="0"/>
              <a:t>Avaliar se uma dada combinação de clientes respeita a capacidade</a:t>
            </a:r>
          </a:p>
          <a:p>
            <a:pPr marL="177800" indent="-177800">
              <a:lnSpc>
                <a:spcPct val="90000"/>
              </a:lnSpc>
              <a:buClr>
                <a:srgbClr val="1E1E1E"/>
              </a:buClr>
              <a:buSzPct val="100000"/>
              <a:buFont typeface="Arial" panose="020B0604020202020204" pitchFamily="34" charset="0"/>
              <a:buChar char="–"/>
            </a:pPr>
            <a:r>
              <a:rPr lang="pt-BR" sz="1400" dirty="0"/>
              <a:t>Somente se a dada combinação respeitar, gerar as permutações desta combinação</a:t>
            </a: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E82F1FFE-3040-43C4-B7F1-8FDF50A2343F}"/>
              </a:ext>
            </a:extLst>
          </p:cNvPr>
          <p:cNvSpPr txBox="1"/>
          <p:nvPr/>
        </p:nvSpPr>
        <p:spPr>
          <a:xfrm>
            <a:off x="1692138" y="4617810"/>
            <a:ext cx="9564914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400" b="1" dirty="0">
                <a:solidFill>
                  <a:schemeClr val="bg1">
                    <a:lumMod val="50000"/>
                  </a:schemeClr>
                </a:solidFill>
              </a:rPr>
              <a:t>Reduzir o número de permutações avaliadas</a:t>
            </a:r>
          </a:p>
          <a:p>
            <a:pPr algn="l">
              <a:lnSpc>
                <a:spcPct val="90000"/>
              </a:lnSpc>
            </a:pPr>
            <a:r>
              <a:rPr lang="pt-BR" sz="1400" dirty="0"/>
              <a:t>Dada a necessidade de definir a ordem de clientes com menor distância (Caixeiro Viajante), pode-se </a:t>
            </a:r>
            <a:r>
              <a:rPr lang="pt-BR" sz="1400" b="1" dirty="0"/>
              <a:t>reduzir pela metade</a:t>
            </a:r>
            <a:r>
              <a:rPr lang="pt-BR" sz="1400" dirty="0"/>
              <a:t> o número de permutações, Isso é possível pela condição simétrica das rotas </a:t>
            </a:r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4519BB19-4702-3BA0-98A7-3F20F05B2E45}"/>
              </a:ext>
            </a:extLst>
          </p:cNvPr>
          <p:cNvSpPr txBox="1"/>
          <p:nvPr/>
        </p:nvSpPr>
        <p:spPr>
          <a:xfrm>
            <a:off x="1692138" y="5873173"/>
            <a:ext cx="9564914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400" b="1" dirty="0">
                <a:solidFill>
                  <a:schemeClr val="bg1">
                    <a:lumMod val="50000"/>
                  </a:schemeClr>
                </a:solidFill>
              </a:rPr>
              <a:t>Gerar matriz de distâncias</a:t>
            </a:r>
          </a:p>
          <a:p>
            <a:pPr algn="l">
              <a:lnSpc>
                <a:spcPct val="90000"/>
              </a:lnSpc>
            </a:pPr>
            <a:r>
              <a:rPr lang="pt-BR" sz="1400" dirty="0"/>
              <a:t>Gerar uma matriz de distâncias n x n (onde n é número de clientes) para evitar o cálculo repetido dessas distâncias no momento de calcular a distância das rotas</a:t>
            </a:r>
          </a:p>
        </p:txBody>
      </p:sp>
      <p:pic>
        <p:nvPicPr>
          <p:cNvPr id="8" name="Gráfico 7" descr="Caminhão estrutura de tópicos">
            <a:extLst>
              <a:ext uri="{FF2B5EF4-FFF2-40B4-BE49-F238E27FC236}">
                <a16:creationId xmlns:a16="http://schemas.microsoft.com/office/drawing/2014/main" id="{3E845550-FCD7-8909-7466-5C7D46BB60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748" y="3095927"/>
            <a:ext cx="914400" cy="914400"/>
          </a:xfrm>
          <a:prstGeom prst="rect">
            <a:avLst/>
          </a:prstGeom>
        </p:spPr>
      </p:pic>
      <p:pic>
        <p:nvPicPr>
          <p:cNvPr id="10" name="Gráfico 9" descr="Análise do cliente estrutura de tópicos">
            <a:extLst>
              <a:ext uri="{FF2B5EF4-FFF2-40B4-BE49-F238E27FC236}">
                <a16:creationId xmlns:a16="http://schemas.microsoft.com/office/drawing/2014/main" id="{9C04F3EF-8388-5270-6443-0E4FE0619E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7748" y="1527628"/>
            <a:ext cx="914400" cy="914400"/>
          </a:xfrm>
          <a:prstGeom prst="rect">
            <a:avLst/>
          </a:prstGeom>
        </p:spPr>
      </p:pic>
      <p:pic>
        <p:nvPicPr>
          <p:cNvPr id="12" name="Gráfico 11" descr="Braille estrutura de tópicos">
            <a:extLst>
              <a:ext uri="{FF2B5EF4-FFF2-40B4-BE49-F238E27FC236}">
                <a16:creationId xmlns:a16="http://schemas.microsoft.com/office/drawing/2014/main" id="{91F25159-599D-238F-43C4-8540BA0FD3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7748" y="5706822"/>
            <a:ext cx="914400" cy="914400"/>
          </a:xfrm>
          <a:prstGeom prst="rect">
            <a:avLst/>
          </a:prstGeom>
        </p:spPr>
      </p:pic>
      <p:pic>
        <p:nvPicPr>
          <p:cNvPr id="14" name="Gráfico 13" descr="Gráfico de tendência descendente estrutura de tópicos">
            <a:extLst>
              <a:ext uri="{FF2B5EF4-FFF2-40B4-BE49-F238E27FC236}">
                <a16:creationId xmlns:a16="http://schemas.microsoft.com/office/drawing/2014/main" id="{5993B2F7-319F-B6E3-867E-078C09B6C2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7748" y="44514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59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B5C055-0AF0-4757-B9BB-0DA8A97141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35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B5C055-0AF0-4757-B9BB-0DA8A9714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ADFC43E-1D99-EDBE-EF63-D661D6EF0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071" y="394154"/>
            <a:ext cx="11078029" cy="70893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2800" b="1" dirty="0">
                <a:latin typeface="+mn-lt"/>
              </a:rPr>
              <a:t>Comparativo de permutações avaliadas utilizando as estratégias</a:t>
            </a:r>
          </a:p>
        </p:txBody>
      </p:sp>
      <p:sp>
        <p:nvSpPr>
          <p:cNvPr id="9" name="Balão de Fala: Retângulo 8">
            <a:extLst>
              <a:ext uri="{FF2B5EF4-FFF2-40B4-BE49-F238E27FC236}">
                <a16:creationId xmlns:a16="http://schemas.microsoft.com/office/drawing/2014/main" id="{B379F520-2F90-21C9-0A73-44860ED99949}"/>
              </a:ext>
            </a:extLst>
          </p:cNvPr>
          <p:cNvSpPr/>
          <p:nvPr/>
        </p:nvSpPr>
        <p:spPr>
          <a:xfrm>
            <a:off x="10156958" y="1905567"/>
            <a:ext cx="1802813" cy="708932"/>
          </a:xfrm>
          <a:prstGeom prst="wedgeRectCallout">
            <a:avLst>
              <a:gd name="adj1" fmla="val -58764"/>
              <a:gd name="adj2" fmla="val -1939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</a:rPr>
              <a:t>Valores obtidos utilizando o máximo de clientes na rota</a:t>
            </a:r>
          </a:p>
        </p:txBody>
      </p:sp>
      <p:sp>
        <p:nvSpPr>
          <p:cNvPr id="11" name="Balão de Fala: Retângulo 10">
            <a:extLst>
              <a:ext uri="{FF2B5EF4-FFF2-40B4-BE49-F238E27FC236}">
                <a16:creationId xmlns:a16="http://schemas.microsoft.com/office/drawing/2014/main" id="{F9B501B1-28AA-E10A-C3E4-97CD652CF70F}"/>
              </a:ext>
            </a:extLst>
          </p:cNvPr>
          <p:cNvSpPr/>
          <p:nvPr/>
        </p:nvSpPr>
        <p:spPr>
          <a:xfrm>
            <a:off x="10156958" y="3527425"/>
            <a:ext cx="1802813" cy="708932"/>
          </a:xfrm>
          <a:prstGeom prst="wedgeRectCallout">
            <a:avLst>
              <a:gd name="adj1" fmla="val -58764"/>
              <a:gd name="adj2" fmla="val -19394"/>
            </a:avLst>
          </a:prstGeom>
          <a:solidFill>
            <a:srgbClr val="002C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</a:rPr>
              <a:t>Valores obtidos avaliando o limite de capacidade</a:t>
            </a:r>
          </a:p>
        </p:txBody>
      </p:sp>
      <p:sp>
        <p:nvSpPr>
          <p:cNvPr id="13" name="Balão de Fala: Retângulo 12">
            <a:extLst>
              <a:ext uri="{FF2B5EF4-FFF2-40B4-BE49-F238E27FC236}">
                <a16:creationId xmlns:a16="http://schemas.microsoft.com/office/drawing/2014/main" id="{406A5A00-E414-D49B-0C5B-C947576392B5}"/>
              </a:ext>
            </a:extLst>
          </p:cNvPr>
          <p:cNvSpPr/>
          <p:nvPr/>
        </p:nvSpPr>
        <p:spPr>
          <a:xfrm>
            <a:off x="10156958" y="5153705"/>
            <a:ext cx="1802813" cy="708932"/>
          </a:xfrm>
          <a:prstGeom prst="wedgeRectCallout">
            <a:avLst>
              <a:gd name="adj1" fmla="val -58764"/>
              <a:gd name="adj2" fmla="val -19394"/>
            </a:avLst>
          </a:prstGeom>
          <a:solidFill>
            <a:srgbClr val="009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</a:rPr>
              <a:t>Redução pela metade devido a condição de simetria 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AC0214A-3567-C9C0-ADB2-108A1F02D85D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381125" y="4902200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DFC1CC4-05EC-4F1B-092E-965F8C216079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381125" y="5818188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7DAC07A-194D-9C75-DBA2-D9DE15289C1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381125" y="2892425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9A02B1A-597D-CF50-F58D-170C61AA165E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381125" y="5359400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6311A7E-36C0-E4D4-1569-9C2B9A04B41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381125" y="3349625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28BFBBA-E795-F330-6AF4-4527F9A2065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381125" y="4445000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3DF1DE0-E87C-62DF-2BF9-BC06DB9807B1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381125" y="3986213"/>
            <a:ext cx="8562975" cy="0"/>
          </a:xfrm>
          <a:prstGeom prst="line">
            <a:avLst/>
          </a:prstGeom>
          <a:ln w="3175" cap="flat" cmpd="sng" algn="ctr">
            <a:solidFill>
              <a:srgbClr val="DADAD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A15373FC-4C36-8B60-AEAF-051005058CD7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88334809"/>
              </p:ext>
            </p:extLst>
          </p:nvPr>
        </p:nvGraphicFramePr>
        <p:xfrm>
          <a:off x="1298575" y="2809875"/>
          <a:ext cx="8728075" cy="3548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89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74700" y="5740400"/>
            <a:ext cx="5048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C3319A-5503-42C7-A1A4-EB701789D9EB}" type="datetime'''''50''0''''''''''''''''''''.''''''''''0''''''''''''''00'">
              <a:rPr lang="en-GB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.000</a:t>
            </a:fld>
            <a:endParaRPr lang="en-GB" sz="1200" dirty="0"/>
          </a:p>
        </p:txBody>
      </p:sp>
      <p:sp>
        <p:nvSpPr>
          <p:cNvPr id="236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58813" y="5281613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4C0D0B-3685-4B57-BB15-98764C871FB2}" type="datetime'1''.00''0.''''''0''0''''''''''''''''''''''''0'''">
              <a:rPr lang="en-GB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.000</a:t>
            </a:fld>
            <a:endParaRPr lang="en-GB" sz="1200" dirty="0"/>
          </a:p>
        </p:txBody>
      </p:sp>
      <p:sp>
        <p:nvSpPr>
          <p:cNvPr id="261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58813" y="4367213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C745F24-378D-4501-B514-2DC1ABF1B44C}" type="datetime'''2''''''''''''.''000''''''.''''''''''0''0''''0'''''''''''''''">
              <a:rPr lang="en-GB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.000</a:t>
            </a:fld>
            <a:endParaRPr lang="en-GB" sz="1200" dirty="0"/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58813" y="2814638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C056DB-83B2-4119-8D54-8D5DC5BC722B}" type="datetime'4.''''''''''''''''''0''''0''0''''''.''''''0''''''0''''''''0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00.000</a:t>
            </a:fld>
            <a:endParaRPr lang="en-GB" sz="1200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201738" y="6197600"/>
            <a:ext cx="7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471493-AB6B-4538-B948-3E3BEB2CD23A}" type="datetime'''''''''''''''''0'''''''''''''">
              <a:rPr lang="en-GB" altLang="en-US" sz="1200" smtClean="0"/>
              <a:pPr/>
              <a:t>0</a:t>
            </a:fld>
            <a:endParaRPr lang="en-GB" sz="1200" dirty="0"/>
          </a:p>
        </p:txBody>
      </p:sp>
      <p:sp>
        <p:nvSpPr>
          <p:cNvPr id="32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8813" y="4824413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2053408-1843-4944-91A8-1BDB50ED072E}" type="datetime'''1''''''.5''''''''''00''''''''.''0''''''''''00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00.000</a:t>
            </a:fld>
            <a:endParaRPr lang="en-GB" sz="1200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58813" y="3908425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EF2BE9-A1DB-4421-9787-476026C89067}" type="datetime'''2.''''''5''''0''''''''''0.''''''''''''000''''''''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00.000</a:t>
            </a:fld>
            <a:endParaRPr lang="en-GB" sz="1200" dirty="0"/>
          </a:p>
        </p:txBody>
      </p:sp>
      <p:sp>
        <p:nvSpPr>
          <p:cNvPr id="34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58813" y="3271838"/>
            <a:ext cx="6207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F168D9E-85D9-4F53-98FB-675F7C602FF2}" type="datetime'''''''''3''''.5''''''0''''''0''''''.0''''''''''''0''''''0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00.000</a:t>
            </a:fld>
            <a:endParaRPr lang="en-GB" sz="1200" dirty="0"/>
          </a:p>
        </p:txBody>
      </p:sp>
      <p:sp useBgFill="1">
        <p:nvSpPr>
          <p:cNvPr id="28" name="Freeform: Shape 27">
            <a:extLst>
              <a:ext uri="{FF2B5EF4-FFF2-40B4-BE49-F238E27FC236}">
                <a16:creationId xmlns:a16="http://schemas.microsoft.com/office/drawing/2014/main" id="{6B19F621-256D-7757-EA03-53EBEF9BDF4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964363" y="3535364"/>
            <a:ext cx="247650" cy="79375"/>
          </a:xfrm>
          <a:custGeom>
            <a:avLst/>
            <a:gdLst/>
            <a:ahLst/>
            <a:cxnLst/>
            <a:rect l="0" t="0" r="0" b="0"/>
            <a:pathLst>
              <a:path w="2476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31" name="Freeform: Shape 30">
            <a:extLst>
              <a:ext uri="{FF2B5EF4-FFF2-40B4-BE49-F238E27FC236}">
                <a16:creationId xmlns:a16="http://schemas.microsoft.com/office/drawing/2014/main" id="{1B5DDBD2-2DF9-B5F7-5A5F-481501619299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734300" y="3535364"/>
            <a:ext cx="247650" cy="79375"/>
          </a:xfrm>
          <a:custGeom>
            <a:avLst/>
            <a:gdLst/>
            <a:ahLst/>
            <a:cxnLst/>
            <a:rect l="0" t="0" r="0" b="0"/>
            <a:pathLst>
              <a:path w="2476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24" name="Freeform: Shape 23">
            <a:extLst>
              <a:ext uri="{FF2B5EF4-FFF2-40B4-BE49-F238E27FC236}">
                <a16:creationId xmlns:a16="http://schemas.microsoft.com/office/drawing/2014/main" id="{8ADEACA7-1F22-37EB-22E0-A798CCA2F622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308100" y="3527425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F7F7B96-EEDE-9E2E-5ED9-A08E1A2473CC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734300" y="3535364"/>
            <a:ext cx="247650" cy="22225"/>
          </a:xfrm>
          <a:custGeom>
            <a:avLst/>
            <a:gdLst/>
            <a:ahLst/>
            <a:cxnLst/>
            <a:rect l="0" t="0" r="0" b="0"/>
            <a:pathLst>
              <a:path w="2476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</a:path>
            </a:pathLst>
          </a:custGeom>
          <a:noFill/>
          <a:ln w="9525" cap="flat" cmpd="sng" algn="ctr">
            <a:solidFill>
              <a:srgbClr val="002C7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D6D1D396-B417-F241-412B-30668B5DCC0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734300" y="3592514"/>
            <a:ext cx="247650" cy="22225"/>
          </a:xfrm>
          <a:custGeom>
            <a:avLst/>
            <a:gdLst/>
            <a:ahLst/>
            <a:cxnLst/>
            <a:rect l="0" t="0" r="0" b="0"/>
            <a:pathLst>
              <a:path w="2476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</a:path>
            </a:pathLst>
          </a:custGeom>
          <a:noFill/>
          <a:ln w="9525" cap="flat" cmpd="sng" algn="ctr">
            <a:solidFill>
              <a:srgbClr val="002C7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D696850-20FC-C0DB-97AC-5035C3B984D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308100" y="3584575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5DF1175-D7A3-4D76-52BA-43C62199F33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964363" y="3535364"/>
            <a:ext cx="247650" cy="22225"/>
          </a:xfrm>
          <a:custGeom>
            <a:avLst/>
            <a:gdLst/>
            <a:ahLst/>
            <a:cxnLst/>
            <a:rect l="0" t="0" r="0" b="0"/>
            <a:pathLst>
              <a:path w="2476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</a:path>
            </a:pathLst>
          </a:custGeom>
          <a:noFill/>
          <a:ln w="9525" cap="flat" cmpd="sng" algn="ctr">
            <a:solidFill>
              <a:srgbClr val="002C7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F4F3954-3D9C-4B54-921F-C71AF9022BB1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964363" y="3592514"/>
            <a:ext cx="247650" cy="22225"/>
          </a:xfrm>
          <a:custGeom>
            <a:avLst/>
            <a:gdLst/>
            <a:ahLst/>
            <a:cxnLst/>
            <a:rect l="0" t="0" r="0" b="0"/>
            <a:pathLst>
              <a:path w="2476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</a:path>
            </a:pathLst>
          </a:custGeom>
          <a:noFill/>
          <a:ln w="9525" cap="flat" cmpd="sng" algn="ctr">
            <a:solidFill>
              <a:srgbClr val="002C7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1207B03-4F77-86B8-7FF9-202EBE677A1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308100" y="3527425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1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11338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723918-4E40-430F-BD7D-5A75C28A78C7}" type="datetime'''''''''''''''''''''1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200" dirty="0"/>
          </a:p>
        </p:txBody>
      </p:sp>
      <p:sp>
        <p:nvSpPr>
          <p:cNvPr id="192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763838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257EA1-3852-4D80-A733-7D3FCCEBFF6B}" type="datetime'2''''''''''''''''''''''''''''''''''''''''''''''''''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/>
          </a:p>
        </p:txBody>
      </p:sp>
      <p:sp>
        <p:nvSpPr>
          <p:cNvPr id="193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714750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AE19C2-BBF3-4B4A-A35B-B6265D0BCF7A}" type="datetime'3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>
        <p:nvSpPr>
          <p:cNvPr id="194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665663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468D48-18F0-4BA0-9CA8-81E014D2DA2E}" type="datetime'''''''''''''''''''''''''''''''''''''''''''''''''''4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  <p:sp>
        <p:nvSpPr>
          <p:cNvPr id="195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618163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BC2407-70B6-454F-A472-1780C21E0373}" type="datetime'''''''''''''''''''''''''''''5''''''''''''''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200" dirty="0"/>
          </a:p>
        </p:txBody>
      </p:sp>
      <p:sp>
        <p:nvSpPr>
          <p:cNvPr id="196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569075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0FCC07-9572-48D2-B0F9-2C366CC485EA}" type="datetime'''''''''''''''''''6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200" dirty="0"/>
          </a:p>
        </p:txBody>
      </p:sp>
      <p:sp>
        <p:nvSpPr>
          <p:cNvPr id="199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423400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121107-7438-481C-8211-E5ADA08224B4}" type="datetime'9''''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GB" sz="1200" dirty="0"/>
          </a:p>
        </p:txBody>
      </p:sp>
      <p:sp>
        <p:nvSpPr>
          <p:cNvPr id="198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472488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2552EB-6EE4-4AB7-8E4D-06E9A90D8699}" type="datetime'''8''''''''''''''''''''''''''''''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GB" sz="1200" dirty="0"/>
          </a:p>
        </p:txBody>
      </p:sp>
      <p:sp>
        <p:nvSpPr>
          <p:cNvPr id="197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519988" y="6326188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D3B391-E25B-42E3-B4E7-66EEE07CEA06}" type="datetime'''7'''''''''''''''''''''''''''''''''''''''''''">
              <a:rPr lang="en-GB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GB" sz="1200" dirty="0"/>
          </a:p>
        </p:txBody>
      </p:sp>
      <p:sp useBgFill="1"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229475" y="2808288"/>
            <a:ext cx="67151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BBA454-43A8-4CB7-BE72-70A6E7A3368C}" type="datetime'3.''''''''85''''''0''''''''''''''''''''.56''''0'">
              <a:rPr lang="en-GB" altLang="en-US" sz="1200" smtClean="0">
                <a:effectLst/>
              </a:rPr>
              <a:pPr/>
              <a:t>3.850.560</a:t>
            </a:fld>
            <a:endParaRPr lang="en-GB" sz="1200" dirty="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4C2DE39-6D27-40C5-BCB0-23045F9D2794}"/>
              </a:ext>
            </a:extLst>
          </p:cNvPr>
          <p:cNvSpPr/>
          <p:nvPr/>
        </p:nvSpPr>
        <p:spPr>
          <a:xfrm>
            <a:off x="390071" y="1232034"/>
            <a:ext cx="8903369" cy="299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 err="1">
                <a:solidFill>
                  <a:schemeClr val="tx1"/>
                </a:solidFill>
              </a:rPr>
              <a:t>Avaliação</a:t>
            </a:r>
            <a:r>
              <a:rPr lang="en-GB" b="1" dirty="0">
                <a:solidFill>
                  <a:schemeClr val="tx1"/>
                </a:solidFill>
              </a:rPr>
              <a:t> do nº de </a:t>
            </a:r>
            <a:r>
              <a:rPr lang="en-GB" b="1" dirty="0" err="1">
                <a:solidFill>
                  <a:schemeClr val="tx1"/>
                </a:solidFill>
              </a:rPr>
              <a:t>clientes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na</a:t>
            </a:r>
            <a:r>
              <a:rPr lang="en-GB" b="1" dirty="0">
                <a:solidFill>
                  <a:schemeClr val="tx1"/>
                </a:solidFill>
              </a:rPr>
              <a:t> rota  x nº de </a:t>
            </a:r>
            <a:r>
              <a:rPr lang="en-GB" b="1" dirty="0" err="1">
                <a:solidFill>
                  <a:schemeClr val="tx1"/>
                </a:solidFill>
              </a:rPr>
              <a:t>permutações</a:t>
            </a:r>
            <a:r>
              <a:rPr lang="en-GB" b="1" dirty="0">
                <a:solidFill>
                  <a:schemeClr val="tx1"/>
                </a:solidFill>
              </a:rPr>
              <a:t> – (</a:t>
            </a:r>
            <a:r>
              <a:rPr lang="en-GB" b="1" dirty="0" err="1">
                <a:solidFill>
                  <a:schemeClr val="tx1"/>
                </a:solidFill>
              </a:rPr>
              <a:t>cenário</a:t>
            </a:r>
            <a:r>
              <a:rPr lang="en-GB" b="1" dirty="0">
                <a:solidFill>
                  <a:schemeClr val="tx1"/>
                </a:solidFill>
              </a:rPr>
              <a:t> de 20 </a:t>
            </a:r>
            <a:r>
              <a:rPr lang="en-GB" b="1" dirty="0" err="1">
                <a:solidFill>
                  <a:schemeClr val="tx1"/>
                </a:solidFill>
              </a:rPr>
              <a:t>clientes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na</a:t>
            </a:r>
            <a:r>
              <a:rPr lang="en-GB" b="1" dirty="0">
                <a:solidFill>
                  <a:schemeClr val="tx1"/>
                </a:solidFill>
              </a:rPr>
              <a:t> base)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2A0D9A7A-E176-42B6-B5E7-FCAA8183173F}"/>
              </a:ext>
            </a:extLst>
          </p:cNvPr>
          <p:cNvSpPr/>
          <p:nvPr/>
        </p:nvSpPr>
        <p:spPr>
          <a:xfrm>
            <a:off x="1257396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20</a:t>
            </a:r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D50D7335-9ACD-4E05-B374-6AADF7CDB6C4}"/>
              </a:ext>
            </a:extLst>
          </p:cNvPr>
          <p:cNvSpPr/>
          <p:nvPr/>
        </p:nvSpPr>
        <p:spPr>
          <a:xfrm>
            <a:off x="2228251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380</a:t>
            </a: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11F57CD9-F898-4688-A04E-0D4F937FA63F}"/>
              </a:ext>
            </a:extLst>
          </p:cNvPr>
          <p:cNvSpPr/>
          <p:nvPr/>
        </p:nvSpPr>
        <p:spPr>
          <a:xfrm>
            <a:off x="9024239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60,9</a:t>
            </a:r>
          </a:p>
          <a:p>
            <a:pPr algn="ctr"/>
            <a:r>
              <a:rPr lang="en-GB" sz="1200" b="1" dirty="0"/>
              <a:t>Bi</a:t>
            </a: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AE509801-1C7B-485B-9A76-F9EA420319EF}"/>
              </a:ext>
            </a:extLst>
          </p:cNvPr>
          <p:cNvSpPr/>
          <p:nvPr/>
        </p:nvSpPr>
        <p:spPr>
          <a:xfrm>
            <a:off x="5140816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1,9</a:t>
            </a:r>
          </a:p>
          <a:p>
            <a:pPr algn="ctr"/>
            <a:r>
              <a:rPr lang="en-GB" sz="1200" b="1" dirty="0"/>
              <a:t>MM</a:t>
            </a: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F66919D3-D0AA-4849-95E4-51C433193FAC}"/>
              </a:ext>
            </a:extLst>
          </p:cNvPr>
          <p:cNvSpPr/>
          <p:nvPr/>
        </p:nvSpPr>
        <p:spPr>
          <a:xfrm>
            <a:off x="4169961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116,3</a:t>
            </a:r>
          </a:p>
          <a:p>
            <a:pPr algn="ctr"/>
            <a:r>
              <a:rPr lang="en-GB" sz="1200" b="1" dirty="0"/>
              <a:t>K</a:t>
            </a: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FEC9FC52-D96C-41EC-8E6A-4A0976240D94}"/>
              </a:ext>
            </a:extLst>
          </p:cNvPr>
          <p:cNvSpPr/>
          <p:nvPr/>
        </p:nvSpPr>
        <p:spPr>
          <a:xfrm>
            <a:off x="3199106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6,8</a:t>
            </a:r>
          </a:p>
          <a:p>
            <a:pPr algn="ctr"/>
            <a:r>
              <a:rPr lang="en-GB" sz="1200" b="1" dirty="0"/>
              <a:t>K</a:t>
            </a:r>
          </a:p>
        </p:txBody>
      </p:sp>
      <p:sp>
        <p:nvSpPr>
          <p:cNvPr id="268" name="Oval 267">
            <a:extLst>
              <a:ext uri="{FF2B5EF4-FFF2-40B4-BE49-F238E27FC236}">
                <a16:creationId xmlns:a16="http://schemas.microsoft.com/office/drawing/2014/main" id="{4F4F662D-AE35-44F3-8C09-C58158420FE0}"/>
              </a:ext>
            </a:extLst>
          </p:cNvPr>
          <p:cNvSpPr/>
          <p:nvPr/>
        </p:nvSpPr>
        <p:spPr>
          <a:xfrm>
            <a:off x="7082526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390,7</a:t>
            </a:r>
          </a:p>
          <a:p>
            <a:pPr algn="ctr"/>
            <a:r>
              <a:rPr lang="en-GB" sz="1200" b="1" dirty="0"/>
              <a:t>MM</a:t>
            </a:r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4A6520F8-D759-4704-AB7C-AD0EB9F0009B}"/>
              </a:ext>
            </a:extLst>
          </p:cNvPr>
          <p:cNvSpPr/>
          <p:nvPr/>
        </p:nvSpPr>
        <p:spPr>
          <a:xfrm>
            <a:off x="8053381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5,1</a:t>
            </a:r>
          </a:p>
          <a:p>
            <a:pPr algn="ctr"/>
            <a:r>
              <a:rPr lang="en-GB" sz="1200" b="1" dirty="0"/>
              <a:t>Bi</a:t>
            </a:r>
          </a:p>
        </p:txBody>
      </p:sp>
      <p:sp>
        <p:nvSpPr>
          <p:cNvPr id="270" name="Oval 269">
            <a:extLst>
              <a:ext uri="{FF2B5EF4-FFF2-40B4-BE49-F238E27FC236}">
                <a16:creationId xmlns:a16="http://schemas.microsoft.com/office/drawing/2014/main" id="{728B9CD5-CF17-405A-BEAB-DE683EE08EF6}"/>
              </a:ext>
            </a:extLst>
          </p:cNvPr>
          <p:cNvSpPr/>
          <p:nvPr/>
        </p:nvSpPr>
        <p:spPr>
          <a:xfrm>
            <a:off x="6111671" y="1838516"/>
            <a:ext cx="772922" cy="772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27,9</a:t>
            </a:r>
          </a:p>
          <a:p>
            <a:pPr algn="ctr"/>
            <a:r>
              <a:rPr lang="en-GB" sz="1200" b="1" dirty="0"/>
              <a:t>MM</a:t>
            </a:r>
          </a:p>
        </p:txBody>
      </p:sp>
    </p:spTree>
    <p:extLst>
      <p:ext uri="{BB962C8B-B14F-4D97-AF65-F5344CB8AC3E}">
        <p14:creationId xmlns:p14="http://schemas.microsoft.com/office/powerpoint/2010/main" val="3075703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B5C055-0AF0-4757-B9BB-0DA8A97141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4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95" imgH="394" progId="TCLayout.ActiveDocument.1">
                  <p:embed/>
                </p:oleObj>
              </mc:Choice>
              <mc:Fallback>
                <p:oleObj name="think-cell Slide" r:id="rId5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B5C055-0AF0-4757-B9BB-0DA8A9714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ADFC43E-1D99-EDBE-EF63-D661D6EF0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071" y="394154"/>
            <a:ext cx="11078029" cy="70893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2800" b="1" dirty="0">
                <a:latin typeface="+mn-lt"/>
              </a:rPr>
              <a:t>Comparativo de tempos de execução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4C2DE39-6D27-40C5-BCB0-23045F9D2794}"/>
              </a:ext>
            </a:extLst>
          </p:cNvPr>
          <p:cNvSpPr/>
          <p:nvPr/>
        </p:nvSpPr>
        <p:spPr>
          <a:xfrm>
            <a:off x="390071" y="1232034"/>
            <a:ext cx="8903369" cy="299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 err="1">
                <a:solidFill>
                  <a:schemeClr val="tx1"/>
                </a:solidFill>
              </a:rPr>
              <a:t>Avaliação</a:t>
            </a:r>
            <a:r>
              <a:rPr lang="en-GB" b="1" dirty="0">
                <a:solidFill>
                  <a:schemeClr val="tx1"/>
                </a:solidFill>
              </a:rPr>
              <a:t> do nº de </a:t>
            </a:r>
            <a:r>
              <a:rPr lang="en-GB" b="1" dirty="0" err="1">
                <a:solidFill>
                  <a:schemeClr val="tx1"/>
                </a:solidFill>
              </a:rPr>
              <a:t>clientes</a:t>
            </a:r>
            <a:r>
              <a:rPr lang="en-GB" b="1" dirty="0">
                <a:solidFill>
                  <a:schemeClr val="tx1"/>
                </a:solidFill>
              </a:rPr>
              <a:t>  x tempo de </a:t>
            </a:r>
            <a:r>
              <a:rPr lang="en-GB" b="1" dirty="0" err="1">
                <a:solidFill>
                  <a:schemeClr val="tx1"/>
                </a:solidFill>
              </a:rPr>
              <a:t>execu</a:t>
            </a:r>
            <a:r>
              <a:rPr lang="en-US" b="1" dirty="0" err="1">
                <a:solidFill>
                  <a:schemeClr val="tx1"/>
                </a:solidFill>
              </a:rPr>
              <a:t>ção</a:t>
            </a:r>
            <a:r>
              <a:rPr lang="en-US" b="1" dirty="0">
                <a:solidFill>
                  <a:schemeClr val="tx1"/>
                </a:solidFill>
              </a:rPr>
              <a:t> (s)</a:t>
            </a:r>
            <a:endParaRPr lang="en-GB" b="1" dirty="0">
              <a:solidFill>
                <a:schemeClr val="tx1"/>
              </a:solidFill>
            </a:endParaRP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ADD9B9C0-AEF5-1620-54B3-B164ACF2603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18056"/>
              </p:ext>
            </p:extLst>
          </p:nvPr>
        </p:nvGraphicFramePr>
        <p:xfrm>
          <a:off x="909638" y="1746250"/>
          <a:ext cx="9842500" cy="4457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812D8547-A6B5-4060-B1E2-7F012E2F18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12800" y="6043613"/>
            <a:ext cx="7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3F3110D-18DC-462A-82D3-B41772B9C974}" type="datetime'''''''0'''''''''''''''''''''''''''">
              <a:rPr lang="en-GB" altLang="en-US" sz="1200" smtClean="0"/>
              <a:pPr/>
              <a:t>0</a:t>
            </a:fld>
            <a:endParaRPr lang="en-GB" sz="1200" dirty="0"/>
          </a:p>
        </p:txBody>
      </p:sp>
      <p:sp>
        <p:nvSpPr>
          <p:cNvPr id="38" name="Espaço Reservado para Texto 2">
            <a:extLst>
              <a:ext uri="{FF2B5EF4-FFF2-40B4-BE49-F238E27FC236}">
                <a16:creationId xmlns:a16="http://schemas.microsoft.com/office/drawing/2014/main" id="{04F52386-89CE-4187-AC62-BD5FAE90CB7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35013" y="5184775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3FDAC83-8751-4B9D-B288-CA5CEC0EDF0B}" type="datetime'''1''''''''''''''''''''''''''0'''''''">
              <a:rPr lang="en-GB" altLang="en-US" sz="1200" smtClean="0"/>
              <a:pPr/>
              <a:t>10</a:t>
            </a:fld>
            <a:endParaRPr lang="en-GB" sz="1200" dirty="0"/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33C020CB-6C3D-431B-97FE-10E1DB92DED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35013" y="4325938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E6DC508-EC95-4D22-A8C8-9AA67DD6488B}" type="datetime'''''''''''''''''''''''''''''''''''''2''0'''''''''''''">
              <a:rPr lang="en-GB" altLang="en-US" sz="1200" smtClean="0"/>
              <a:pPr/>
              <a:t>20</a:t>
            </a:fld>
            <a:endParaRPr lang="en-GB" sz="1200" dirty="0"/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35013" y="1751013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F288E0F-3585-4BEF-AD18-19C16B8FF193}" type="datetime'''''''''''5''''''''0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GB" sz="1200" dirty="0"/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12800" y="5614988"/>
            <a:ext cx="77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901C747-F7E1-4B2A-B34D-C4A76B760309}" type="datetime'5''''''''''''''''''''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200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35013" y="4756150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A2F57C-E65F-47CC-A250-2966EF494314}" type="datetime'''''''1''''''''''''''''''''''''''''''''''''''5''''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GB" sz="12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5013" y="2179638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FB784AB-EE99-4B1E-A1AC-415E93F63933}" type="datetime'''''''''''4''''''''''5''''''''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GB" sz="1200" dirty="0"/>
          </a:p>
        </p:txBody>
      </p:sp>
      <p:sp>
        <p:nvSpPr>
          <p:cNvPr id="83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35013" y="3897313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46107ED-061C-4312-99B0-FF75F0A4A464}" type="datetime'''''2''''''''5''''''''''''''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GB" sz="1200" dirty="0"/>
          </a:p>
        </p:txBody>
      </p:sp>
      <p:sp>
        <p:nvSpPr>
          <p:cNvPr id="84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35013" y="3468688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378A8BF-DDEB-47AE-AD90-3B913B736A2B}" type="datetime'''''''''3''''''0''''''''''''''''''''''''''''''''''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200" dirty="0"/>
          </a:p>
        </p:txBody>
      </p:sp>
      <p:sp>
        <p:nvSpPr>
          <p:cNvPr id="85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35013" y="3038475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47DB007-ACE7-473C-8604-9A65C7BD22A0}" type="datetime'''''''''''3''''''''''5''''''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GB" sz="1200" dirty="0"/>
          </a:p>
        </p:txBody>
      </p:sp>
      <p:sp>
        <p:nvSpPr>
          <p:cNvPr id="86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35013" y="2609850"/>
            <a:ext cx="155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4E5C39B-43A6-4458-86CB-0597BA1F7326}" type="datetime'''''''''''''''''''''''''''4''''''''''''0'''''">
              <a:rPr lang="en-GB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200" dirty="0"/>
          </a:p>
        </p:txBody>
      </p:sp>
      <p:sp>
        <p:nvSpPr>
          <p:cNvPr id="53" name="Espaço Reservado para Texto 2">
            <a:extLst>
              <a:ext uri="{FF2B5EF4-FFF2-40B4-BE49-F238E27FC236}">
                <a16:creationId xmlns:a16="http://schemas.microsoft.com/office/drawing/2014/main" id="{F54F16B6-53BA-42C7-887E-B74D15C27D2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59363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E90805-CB15-4B59-B5F3-1DD50663EEAA}" type="datetime'''''''''''''''''9'''''">
              <a:rPr lang="en-GB" altLang="en-US" sz="1200" smtClean="0"/>
              <a:pPr/>
              <a:t>9</a:t>
            </a:fld>
            <a:endParaRPr lang="en-GB" sz="1200" dirty="0"/>
          </a:p>
        </p:txBody>
      </p:sp>
      <p:sp>
        <p:nvSpPr>
          <p:cNvPr id="63" name="Espaço Reservado para Texto 2">
            <a:extLst>
              <a:ext uri="{FF2B5EF4-FFF2-40B4-BE49-F238E27FC236}">
                <a16:creationId xmlns:a16="http://schemas.microsoft.com/office/drawing/2014/main" id="{6870BB78-727E-4EBE-AC65-3E7595D820B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503863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3930AE-DCD0-4F79-A8B7-D313539F47D3}" type="datetime'''''''''''''''1''''''''''''''''''''''''''''''''''''''''0'''''">
              <a:rPr lang="en-GB" altLang="en-US" sz="1200" smtClean="0"/>
              <a:pPr/>
              <a:t>10</a:t>
            </a:fld>
            <a:endParaRPr lang="en-GB" sz="1200" dirty="0"/>
          </a:p>
        </p:txBody>
      </p:sp>
      <p:sp>
        <p:nvSpPr>
          <p:cNvPr id="55" name="Espaço Reservado para Texto 2">
            <a:extLst>
              <a:ext uri="{FF2B5EF4-FFF2-40B4-BE49-F238E27FC236}">
                <a16:creationId xmlns:a16="http://schemas.microsoft.com/office/drawing/2014/main" id="{7EC856F4-EFF8-4FFA-978B-A7972F6D862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88050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023988-790F-4F7E-82DB-E038B21243A1}" type="datetime'''1''''''''''''''''''''''''''''''''''''''''''''''''''''''1'">
              <a:rPr lang="en-GB" altLang="en-US" sz="1200" smtClean="0"/>
              <a:pPr/>
              <a:t>11</a:t>
            </a:fld>
            <a:endParaRPr lang="en-GB" sz="1200" dirty="0"/>
          </a:p>
        </p:txBody>
      </p:sp>
      <p:sp>
        <p:nvSpPr>
          <p:cNvPr id="64" name="Espaço Reservado para Texto 2">
            <a:extLst>
              <a:ext uri="{FF2B5EF4-FFF2-40B4-BE49-F238E27FC236}">
                <a16:creationId xmlns:a16="http://schemas.microsoft.com/office/drawing/2014/main" id="{0E841CEF-26A9-4643-9926-B50E47B3E08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72238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AFBC79-7376-4C5C-815C-0225BB07E977}" type="datetime'''''''''''''''1''''''''''''''''''''2'''''''''">
              <a:rPr lang="en-GB" altLang="en-US" sz="1200" smtClean="0"/>
              <a:pPr/>
              <a:t>12</a:t>
            </a:fld>
            <a:endParaRPr lang="en-GB" sz="1200" dirty="0"/>
          </a:p>
        </p:txBody>
      </p:sp>
      <p:sp>
        <p:nvSpPr>
          <p:cNvPr id="57" name="Espaço Reservado para Texto 2">
            <a:extLst>
              <a:ext uri="{FF2B5EF4-FFF2-40B4-BE49-F238E27FC236}">
                <a16:creationId xmlns:a16="http://schemas.microsoft.com/office/drawing/2014/main" id="{CB5AF567-9DD4-4CF6-8CA2-018C1FFF351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954838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E52F3D-FA9B-471C-9CCC-AA889F2E5F8F}" type="datetime'''''''''''''''''''''''''''''''''''1''''''''''3'''''''''''''''">
              <a:rPr lang="en-GB" altLang="en-US" sz="1200" smtClean="0"/>
              <a:pPr/>
              <a:t>13</a:t>
            </a:fld>
            <a:endParaRPr lang="en-GB" sz="1200" dirty="0"/>
          </a:p>
        </p:txBody>
      </p:sp>
      <p:sp>
        <p:nvSpPr>
          <p:cNvPr id="58" name="Espaço Reservado para Texto 2">
            <a:extLst>
              <a:ext uri="{FF2B5EF4-FFF2-40B4-BE49-F238E27FC236}">
                <a16:creationId xmlns:a16="http://schemas.microsoft.com/office/drawing/2014/main" id="{3F1FE6B1-5662-4A36-9638-9A0C34F18C2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39025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6AB7D9-B902-48BA-999B-3E179F3E297F}" type="datetime'''''''''1''''''''''''''4'''''''''''">
              <a:rPr lang="en-GB" altLang="en-US" sz="1200" smtClean="0"/>
              <a:pPr/>
              <a:t>14</a:t>
            </a:fld>
            <a:endParaRPr lang="en-GB" sz="1200" dirty="0"/>
          </a:p>
        </p:txBody>
      </p:sp>
      <p:sp>
        <p:nvSpPr>
          <p:cNvPr id="59" name="Espaço Reservado para Texto 2">
            <a:extLst>
              <a:ext uri="{FF2B5EF4-FFF2-40B4-BE49-F238E27FC236}">
                <a16:creationId xmlns:a16="http://schemas.microsoft.com/office/drawing/2014/main" id="{CBEA58B6-33BD-4B0A-9438-6853DF0143B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23213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5D480D-3618-48F3-ADDB-2B0B49C68860}" type="datetime'''''''''''''''1''''''''''''''''''5'''''''''''''''''''''">
              <a:rPr lang="en-GB" altLang="en-US" sz="1200" smtClean="0"/>
              <a:pPr/>
              <a:t>15</a:t>
            </a:fld>
            <a:endParaRPr lang="en-GB" sz="1200" dirty="0"/>
          </a:p>
        </p:txBody>
      </p:sp>
      <p:sp>
        <p:nvSpPr>
          <p:cNvPr id="66" name="Espaço Reservado para Texto 2">
            <a:extLst>
              <a:ext uri="{FF2B5EF4-FFF2-40B4-BE49-F238E27FC236}">
                <a16:creationId xmlns:a16="http://schemas.microsoft.com/office/drawing/2014/main" id="{27CAD04E-3A94-4584-B9C9-5A2C805D38C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891588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BBF5F3-D92A-4C54-8100-397A1551586E}" type="datetime'''''''''''''''''''''''''''''1''''7'''''''''''''''''''">
              <a:rPr lang="en-GB" altLang="en-US" sz="1200" smtClean="0"/>
              <a:pPr/>
              <a:t>17</a:t>
            </a:fld>
            <a:endParaRPr lang="en-GB" sz="1200" dirty="0"/>
          </a:p>
        </p:txBody>
      </p:sp>
      <p:sp>
        <p:nvSpPr>
          <p:cNvPr id="61" name="Espaço Reservado para Texto 2">
            <a:extLst>
              <a:ext uri="{FF2B5EF4-FFF2-40B4-BE49-F238E27FC236}">
                <a16:creationId xmlns:a16="http://schemas.microsoft.com/office/drawing/2014/main" id="{2907F680-8A52-484A-8C95-B04B90E8716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374188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9BF640-AD74-42F0-A1C7-C5D78B7694B7}" type="datetime'''''''''''''''''''''''''1''''''''''''''''''8'''''''">
              <a:rPr lang="en-GB" altLang="en-US" sz="1200" smtClean="0"/>
              <a:pPr/>
              <a:t>18</a:t>
            </a:fld>
            <a:endParaRPr lang="en-GB" sz="1200" dirty="0"/>
          </a:p>
        </p:txBody>
      </p:sp>
      <p:sp>
        <p:nvSpPr>
          <p:cNvPr id="56" name="Espaço Reservado para Texto 2">
            <a:extLst>
              <a:ext uri="{FF2B5EF4-FFF2-40B4-BE49-F238E27FC236}">
                <a16:creationId xmlns:a16="http://schemas.microsoft.com/office/drawing/2014/main" id="{1F29FFD5-F5BF-4B9A-B668-44C3D5B34CD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858375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AEEDE5-1286-4C2E-9C09-A5964DF33D1B}" type="datetime'''''''''''''''''''''1''''''''''''''''''''''9'''''''">
              <a:rPr lang="en-GB" altLang="en-US" sz="1200" smtClean="0"/>
              <a:pPr/>
              <a:t>19</a:t>
            </a:fld>
            <a:endParaRPr lang="en-GB" sz="1200" dirty="0"/>
          </a:p>
        </p:txBody>
      </p:sp>
      <p:sp>
        <p:nvSpPr>
          <p:cNvPr id="62" name="Espaço Reservado para Texto 2">
            <a:extLst>
              <a:ext uri="{FF2B5EF4-FFF2-40B4-BE49-F238E27FC236}">
                <a16:creationId xmlns:a16="http://schemas.microsoft.com/office/drawing/2014/main" id="{BDC3642D-B27E-4094-BA72-50D1DDC661C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342563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9BA07D-CAA6-496C-BC8B-D1A01960E841}" type="datetime'''''''''''''''''''''''2''''''0'''''''''''''">
              <a:rPr lang="en-GB" altLang="en-US" sz="1200" smtClean="0"/>
              <a:pPr/>
              <a:t>20</a:t>
            </a:fld>
            <a:endParaRPr lang="en-GB" sz="1200" dirty="0"/>
          </a:p>
        </p:txBody>
      </p:sp>
      <p:sp>
        <p:nvSpPr>
          <p:cNvPr id="54" name="Espaço Reservado para Texto 2">
            <a:extLst>
              <a:ext uri="{FF2B5EF4-FFF2-40B4-BE49-F238E27FC236}">
                <a16:creationId xmlns:a16="http://schemas.microsoft.com/office/drawing/2014/main" id="{7EAB59B8-B9ED-435A-BF92-DFAC6FFA557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91825" y="3938588"/>
            <a:ext cx="5953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2E9610-DC62-4D90-8EB1-628DB280F5C1}" type="datetime'''''''''''''''''''''t''''em''po'''''''''''' ''''(s'''')'">
              <a:rPr lang="en-GB" altLang="en-US" sz="1200" smtClean="0"/>
              <a:pPr/>
              <a:t>tempo (s)</a:t>
            </a:fld>
            <a:endParaRPr lang="en-GB" sz="1200" dirty="0"/>
          </a:p>
        </p:txBody>
      </p:sp>
      <p:sp>
        <p:nvSpPr>
          <p:cNvPr id="60" name="Espaço Reservado para Texto 2">
            <a:extLst>
              <a:ext uri="{FF2B5EF4-FFF2-40B4-BE49-F238E27FC236}">
                <a16:creationId xmlns:a16="http://schemas.microsoft.com/office/drawing/2014/main" id="{7F232CC2-74E9-445E-8290-20D09F59F50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407400" y="6172200"/>
            <a:ext cx="168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BA7E36-2144-4CE2-9AED-3FF83AF734AB}" type="datetime'''16'''''''''''''''''''''''''''''''''''''">
              <a:rPr lang="en-GB" altLang="en-US" sz="1200" smtClean="0"/>
              <a:pPr/>
              <a:t>16</a:t>
            </a:fld>
            <a:endParaRPr lang="en-GB" sz="1200" dirty="0"/>
          </a:p>
        </p:txBody>
      </p:sp>
      <p:sp useBgFill="1"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B2299E72-4DBF-83F3-4848-6ADA7B5F69F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428038" y="5559425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064CF8-88EC-49DB-BF10-33C8C2872034}" type="datetime'''''''''''''''''''''''''4'''''''">
              <a:rPr lang="en-GB" altLang="en-US" sz="1200" smtClean="0">
                <a:effectLst/>
              </a:rPr>
              <a:pPr/>
              <a:t>4</a:t>
            </a:fld>
            <a:endParaRPr lang="en-GB" sz="1200" dirty="0"/>
          </a:p>
        </p:txBody>
      </p:sp>
      <p:sp useBgFill="1">
        <p:nvSpPr>
          <p:cNvPr id="13" name="Espaço Reservado para Texto 2">
            <a:extLst>
              <a:ext uri="{FF2B5EF4-FFF2-40B4-BE49-F238E27FC236}">
                <a16:creationId xmlns:a16="http://schemas.microsoft.com/office/drawing/2014/main" id="{19F2B7F4-2C20-3DED-CF42-D80B30AF9C3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912225" y="5138738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42650E-42A1-402C-9695-4ABB271594CC}" type="datetime'''''''''''''''''''''''''''''''9'''''''''''''''''''''''''''''''">
              <a:rPr lang="en-GB" altLang="en-US" sz="1200" smtClean="0">
                <a:effectLst/>
              </a:rPr>
              <a:pPr/>
              <a:t>9</a:t>
            </a:fld>
            <a:endParaRPr lang="en-GB" sz="1200" dirty="0"/>
          </a:p>
        </p:txBody>
      </p:sp>
      <p:sp>
        <p:nvSpPr>
          <p:cNvPr id="65" name="Espaço Reservado para Texto 2">
            <a:extLst>
              <a:ext uri="{FF2B5EF4-FFF2-40B4-BE49-F238E27FC236}">
                <a16:creationId xmlns:a16="http://schemas.microsoft.com/office/drawing/2014/main" id="{ECBF1F4A-96FC-4AD7-B5DC-7FB40AE1040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89038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61D6C-00F0-4E62-A4A5-93E9806E5353}" type="datetime'''1'''''''''''''''''''''''''''''''''''''''''''''''''''''''''''">
              <a:rPr lang="en-GB" altLang="en-US" sz="1200" smtClean="0"/>
              <a:pPr/>
              <a:t>1</a:t>
            </a:fld>
            <a:endParaRPr lang="en-GB" sz="1200" dirty="0"/>
          </a:p>
        </p:txBody>
      </p:sp>
      <p:sp>
        <p:nvSpPr>
          <p:cNvPr id="67" name="Espaço Reservado para Texto 2">
            <a:extLst>
              <a:ext uri="{FF2B5EF4-FFF2-40B4-BE49-F238E27FC236}">
                <a16:creationId xmlns:a16="http://schemas.microsoft.com/office/drawing/2014/main" id="{8BCD6A87-C2E7-47E0-824E-659E5FD5DAC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673225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2E09C-C11C-41F3-9979-CDF04686BDBF}" type="datetime'''2'''''''''''''''''''''''''''''''''''''''">
              <a:rPr lang="en-GB" altLang="en-US" sz="1200" smtClean="0"/>
              <a:pPr/>
              <a:t>2</a:t>
            </a:fld>
            <a:endParaRPr lang="en-GB" sz="1200" dirty="0"/>
          </a:p>
        </p:txBody>
      </p:sp>
      <p:sp>
        <p:nvSpPr>
          <p:cNvPr id="68" name="Espaço Reservado para Texto 2">
            <a:extLst>
              <a:ext uri="{FF2B5EF4-FFF2-40B4-BE49-F238E27FC236}">
                <a16:creationId xmlns:a16="http://schemas.microsoft.com/office/drawing/2014/main" id="{576F6D65-CD24-4274-A38F-C2CA87DE210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155825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FFC139-310C-47C0-8793-62A7E7DF6F04}" type="datetime'''''''''''''''''''''''''3'">
              <a:rPr lang="en-GB" altLang="en-US" sz="1200" smtClean="0"/>
              <a:pPr/>
              <a:t>3</a:t>
            </a:fld>
            <a:endParaRPr lang="en-GB" sz="1200" dirty="0"/>
          </a:p>
        </p:txBody>
      </p:sp>
      <p:sp useBgFill="1">
        <p:nvSpPr>
          <p:cNvPr id="72" name="Espaço Reservado para Texto 2">
            <a:extLst>
              <a:ext uri="{FF2B5EF4-FFF2-40B4-BE49-F238E27FC236}">
                <a16:creationId xmlns:a16="http://schemas.microsoft.com/office/drawing/2014/main" id="{68176EA0-4915-4DBE-BD43-8DCD044B0BF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323514" y="1730375"/>
            <a:ext cx="206375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66CD2A-A37A-4706-8EAA-6AC7179FFC91}" type="datetime'''''''''''''''''''''''''''''''''''''''''''''''''''4''9'''">
              <a:rPr lang="en-GB" altLang="en-US" sz="1200" smtClean="0"/>
              <a:pPr/>
              <a:t>49</a:t>
            </a:fld>
            <a:endParaRPr lang="en-GB" sz="1200" dirty="0"/>
          </a:p>
        </p:txBody>
      </p:sp>
      <p:sp useBgFill="1"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169988" y="5622925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A89234-6665-423F-A66D-9DAC54EB5D82}" type="datetime'''''''''''''''''''''''''''''''''''''''''''''4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  <p:sp useBgFill="1">
        <p:nvSpPr>
          <p:cNvPr id="44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36775" y="5640388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AE0D1D-734D-48CB-AE7B-33F2A6826DE3}" type="datetime'''''''''''''''''''''''''''''''''''''''3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 useBgFill="1">
        <p:nvSpPr>
          <p:cNvPr id="46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620963" y="5634038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8760DE-F39F-4667-B05F-047B8B595004}" type="datetime'''''''''''''''''''''''''''''''3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 useBgFill="1">
        <p:nvSpPr>
          <p:cNvPr id="48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105150" y="5640388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26F86E-62AF-4A37-94FA-BD4AB98920E3}" type="datetime'''''''''''3''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 useBgFill="1"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89338" y="5648325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4E83AAE-0C6E-422E-85EB-B12D3160BCA4}" type="datetime'''''3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>
        <p:nvSpPr>
          <p:cNvPr id="70" name="Espaço Reservado para Texto 2">
            <a:extLst>
              <a:ext uri="{FF2B5EF4-FFF2-40B4-BE49-F238E27FC236}">
                <a16:creationId xmlns:a16="http://schemas.microsoft.com/office/drawing/2014/main" id="{8DCA304A-30DA-433D-9B34-4D08A9894DC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640013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F798C-6257-4544-916E-0354997EB2F8}" type="datetime'''''''''''''''''''''''''''''''''''''4'">
              <a:rPr lang="en-GB" altLang="en-US" sz="1200" smtClean="0"/>
              <a:pPr/>
              <a:t>4</a:t>
            </a:fld>
            <a:endParaRPr lang="en-GB" sz="1200" dirty="0"/>
          </a:p>
        </p:txBody>
      </p:sp>
      <p:sp useBgFill="1">
        <p:nvSpPr>
          <p:cNvPr id="75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556125" y="5649913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F305DC-333F-4400-9F33-A3ED85AE3E49}" type="datetime'''''''''''''''''''''''''''''''''3''''''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 useBgFill="1">
        <p:nvSpPr>
          <p:cNvPr id="76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040313" y="5640388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C0920F-09F4-4B4F-AE25-A9775FAB0A02}" type="datetime'''''''''''''''''''''''''''''''''''''''''''''3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 useBgFill="1">
        <p:nvSpPr>
          <p:cNvPr id="77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524500" y="5616575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AE8674-413C-471A-A9E0-930353F6B465}" type="datetime'''''''''''''''4''''''''''''''''''''''''''''''''''''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  <p:sp useBgFill="1">
        <p:nvSpPr>
          <p:cNvPr id="78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008688" y="5637213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15236F-1B63-42D5-B74B-B0E7D37DC6E7}" type="datetime'''''''3''''''''''''''''''''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/>
          </a:p>
        </p:txBody>
      </p:sp>
      <p:sp useBgFill="1">
        <p:nvSpPr>
          <p:cNvPr id="79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492875" y="5614988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AE4BAB-EB69-4E87-BE80-4388ED05F74B}" type="datetime'''''''''''''''''4''''''''''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  <p:sp useBgFill="1">
        <p:nvSpPr>
          <p:cNvPr id="74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073525" y="5622925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115EA6-C2F8-43FD-961D-2C1E2EEA91EB}" type="datetime'''''''4''''''''''''''''''''''''''''''''''''''''''''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  <p:sp useBgFill="1">
        <p:nvSpPr>
          <p:cNvPr id="82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459663" y="5624513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A5306F-51A1-4B2B-B2E0-51E1793A9A77}" type="datetime'''''''''''''''''''''''''''''''''''''''''''''4''''''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  <p:sp>
        <p:nvSpPr>
          <p:cNvPr id="71" name="Espaço Reservado para Texto 2">
            <a:extLst>
              <a:ext uri="{FF2B5EF4-FFF2-40B4-BE49-F238E27FC236}">
                <a16:creationId xmlns:a16="http://schemas.microsoft.com/office/drawing/2014/main" id="{784119CD-B836-452E-9341-23824D2AA83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124200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632B9-1B57-46D6-90D7-71C40AF424C3}" type="datetime'''''''''''''''''''''''''''''''''''5'''''">
              <a:rPr lang="en-GB" altLang="en-US" sz="1200" smtClean="0"/>
              <a:pPr/>
              <a:t>5</a:t>
            </a:fld>
            <a:endParaRPr lang="en-GB" sz="1200" dirty="0"/>
          </a:p>
        </p:txBody>
      </p:sp>
      <p:sp>
        <p:nvSpPr>
          <p:cNvPr id="51" name="Espaço Reservado para Texto 2">
            <a:extLst>
              <a:ext uri="{FF2B5EF4-FFF2-40B4-BE49-F238E27FC236}">
                <a16:creationId xmlns:a16="http://schemas.microsoft.com/office/drawing/2014/main" id="{66AF2D21-03BF-4B86-B36D-E3A96748B49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608388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2D1477-FEBB-47D8-A369-CE47FB96928E}" type="datetime'''6'''''''''''''''''''''''''''''''''''''''">
              <a:rPr lang="en-GB" altLang="en-US" sz="1200" smtClean="0"/>
              <a:pPr/>
              <a:t>6</a:t>
            </a:fld>
            <a:endParaRPr lang="en-GB" sz="1200" dirty="0"/>
          </a:p>
        </p:txBody>
      </p:sp>
      <p:sp>
        <p:nvSpPr>
          <p:cNvPr id="69" name="Espaço Reservado para Texto 2">
            <a:extLst>
              <a:ext uri="{FF2B5EF4-FFF2-40B4-BE49-F238E27FC236}">
                <a16:creationId xmlns:a16="http://schemas.microsoft.com/office/drawing/2014/main" id="{681D6837-D262-428A-B7F2-9B633F85D3F7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092575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193430-B58D-43EB-8D57-A7DF3D1B8150}" type="datetime'''''''''''''''''''7'''''''''''''">
              <a:rPr lang="en-GB" altLang="en-US" sz="1200" smtClean="0"/>
              <a:pPr/>
              <a:t>7</a:t>
            </a:fld>
            <a:endParaRPr lang="en-GB" sz="1200" dirty="0"/>
          </a:p>
        </p:txBody>
      </p:sp>
      <p:sp>
        <p:nvSpPr>
          <p:cNvPr id="52" name="Espaço Reservado para Texto 2">
            <a:extLst>
              <a:ext uri="{FF2B5EF4-FFF2-40B4-BE49-F238E27FC236}">
                <a16:creationId xmlns:a16="http://schemas.microsoft.com/office/drawing/2014/main" id="{1918AAFD-8B96-45C0-8C77-448FDB561FD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575175" y="6172200"/>
            <a:ext cx="90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8BA6B-6B8F-45E1-A55B-662C6D680E35}" type="datetime'''''''''''''''''''''''''''''8'''''''''''''''''''''''">
              <a:rPr lang="en-GB" altLang="en-US" sz="1200" smtClean="0"/>
              <a:pPr/>
              <a:t>8</a:t>
            </a:fld>
            <a:endParaRPr lang="en-GB" sz="1200" dirty="0"/>
          </a:p>
        </p:txBody>
      </p:sp>
      <p:sp useBgFill="1">
        <p:nvSpPr>
          <p:cNvPr id="80" name="Espaço Reservado para Texto 2">
            <a:extLst>
              <a:ext uri="{FF2B5EF4-FFF2-40B4-BE49-F238E27FC236}">
                <a16:creationId xmlns:a16="http://schemas.microsoft.com/office/drawing/2014/main" id="{49A27744-670C-574A-C9B6-520E1D7D3E1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975475" y="5618163"/>
            <a:ext cx="128588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6CA598-0601-4426-B672-97DFE5C4E713}" type="datetime'''''''''''''''4'''''">
              <a:rPr lang="en-GB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123124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edifício, grande, mesa, estacionado">
            <a:extLst>
              <a:ext uri="{FF2B5EF4-FFF2-40B4-BE49-F238E27FC236}">
                <a16:creationId xmlns:a16="http://schemas.microsoft.com/office/drawing/2014/main" id="{F0540AFB-CC16-9E18-E333-D10D92E36B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0" r="13943"/>
          <a:stretch/>
        </p:blipFill>
        <p:spPr>
          <a:xfrm>
            <a:off x="0" y="0"/>
            <a:ext cx="6788727" cy="6858000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96EB9B50-C9B9-3D7A-5F82-D9A0AFCC5C03}"/>
              </a:ext>
            </a:extLst>
          </p:cNvPr>
          <p:cNvSpPr/>
          <p:nvPr/>
        </p:nvSpPr>
        <p:spPr>
          <a:xfrm>
            <a:off x="6442363" y="1233054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E7AEDA9B-BC1F-B014-2BBB-8FA3F88F6EAE}"/>
              </a:ext>
            </a:extLst>
          </p:cNvPr>
          <p:cNvSpPr/>
          <p:nvPr/>
        </p:nvSpPr>
        <p:spPr>
          <a:xfrm>
            <a:off x="6442363" y="2424545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35E51C98-4BA7-88D8-38AC-EDAF293BB3D7}"/>
              </a:ext>
            </a:extLst>
          </p:cNvPr>
          <p:cNvSpPr/>
          <p:nvPr/>
        </p:nvSpPr>
        <p:spPr>
          <a:xfrm>
            <a:off x="6442362" y="361603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585806DF-A8D8-032D-1A1F-FCA96278933A}"/>
              </a:ext>
            </a:extLst>
          </p:cNvPr>
          <p:cNvSpPr/>
          <p:nvPr/>
        </p:nvSpPr>
        <p:spPr>
          <a:xfrm>
            <a:off x="6442360" y="4807526"/>
            <a:ext cx="692727" cy="692727"/>
          </a:xfrm>
          <a:prstGeom prst="ellipse">
            <a:avLst/>
          </a:prstGeom>
          <a:solidFill>
            <a:srgbClr val="E1E1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A4FFC7D-59BE-5689-BAA5-D86ED54EBDB4}"/>
              </a:ext>
            </a:extLst>
          </p:cNvPr>
          <p:cNvSpPr txBox="1"/>
          <p:nvPr/>
        </p:nvSpPr>
        <p:spPr>
          <a:xfrm>
            <a:off x="7278254" y="143868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Geração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Exaustiv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Rotas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&amp;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ermutações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4BCE0FE-5D82-6F60-E434-F02748CF062F}"/>
              </a:ext>
            </a:extLst>
          </p:cNvPr>
          <p:cNvSpPr txBox="1"/>
          <p:nvPr/>
        </p:nvSpPr>
        <p:spPr>
          <a:xfrm>
            <a:off x="7278254" y="2586242"/>
            <a:ext cx="65601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Algoritmo</a:t>
            </a:r>
            <a:r>
              <a:rPr lang="en-US" dirty="0"/>
              <a:t> de Clarke &amp; Wright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E69C0759-A578-7C45-D37D-A0498318A3B7}"/>
              </a:ext>
            </a:extLst>
          </p:cNvPr>
          <p:cNvSpPr txBox="1"/>
          <p:nvPr/>
        </p:nvSpPr>
        <p:spPr>
          <a:xfrm>
            <a:off x="7278254" y="3777733"/>
            <a:ext cx="68441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Heurístic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Construtiva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Probabilística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69F93BF-74D9-FF55-BFED-B05968B27C62}"/>
              </a:ext>
            </a:extLst>
          </p:cNvPr>
          <p:cNvSpPr txBox="1"/>
          <p:nvPr/>
        </p:nvSpPr>
        <p:spPr>
          <a:xfrm>
            <a:off x="7278254" y="4969224"/>
            <a:ext cx="6989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Tempos de </a:t>
            </a:r>
            <a:r>
              <a:rPr lang="en-US" dirty="0" err="1"/>
              <a:t>Execuçã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7988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5212C0-CFA6-451B-BD8C-6598C3F9A5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16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ítulo 1">
            <a:extLst>
              <a:ext uri="{FF2B5EF4-FFF2-40B4-BE49-F238E27FC236}">
                <a16:creationId xmlns:a16="http://schemas.microsoft.com/office/drawing/2014/main" id="{30CBAFE7-ACBB-41B7-A67B-99A6179E8CAD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Descrição do algoritmo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4F832F85-348C-56F0-5B2A-FAEEB2D7F88B}"/>
              </a:ext>
            </a:extLst>
          </p:cNvPr>
          <p:cNvSpPr/>
          <p:nvPr/>
        </p:nvSpPr>
        <p:spPr>
          <a:xfrm>
            <a:off x="2120900" y="1345127"/>
            <a:ext cx="7886700" cy="484745"/>
          </a:xfrm>
          <a:prstGeom prst="rect">
            <a:avLst/>
          </a:prstGeom>
          <a:solidFill>
            <a:schemeClr val="bg1"/>
          </a:solidFill>
          <a:ln>
            <a:solidFill>
              <a:srgbClr val="A5A5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48000" indent="-34290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/>
                </a:solidFill>
                <a:latin typeface="+mj-lt"/>
              </a:rPr>
              <a:t>Há uma economia em colocar dois clientes próximos em uma mesma rota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45264F71-4660-BFD2-4E87-224C7AC846DD}"/>
              </a:ext>
            </a:extLst>
          </p:cNvPr>
          <p:cNvSpPr txBox="1">
            <a:spLocks/>
          </p:cNvSpPr>
          <p:nvPr/>
        </p:nvSpPr>
        <p:spPr>
          <a:xfrm>
            <a:off x="-826322" y="2439522"/>
            <a:ext cx="11078029" cy="70893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800" b="1" dirty="0">
              <a:latin typeface="+mn-lt"/>
            </a:endParaRPr>
          </a:p>
        </p:txBody>
      </p:sp>
      <p:sp>
        <p:nvSpPr>
          <p:cNvPr id="4" name="Balão de Fala: Retângulo 3">
            <a:extLst>
              <a:ext uri="{FF2B5EF4-FFF2-40B4-BE49-F238E27FC236}">
                <a16:creationId xmlns:a16="http://schemas.microsoft.com/office/drawing/2014/main" id="{6B27B4BA-D85C-BAFD-239F-91335BED7803}"/>
              </a:ext>
            </a:extLst>
          </p:cNvPr>
          <p:cNvSpPr/>
          <p:nvPr/>
        </p:nvSpPr>
        <p:spPr>
          <a:xfrm>
            <a:off x="419100" y="1345127"/>
            <a:ext cx="1701800" cy="484745"/>
          </a:xfrm>
          <a:prstGeom prst="wedgeRectCallout">
            <a:avLst>
              <a:gd name="adj1" fmla="val 61257"/>
              <a:gd name="adj2" fmla="val -1830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remissa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8E25B52-ED13-E878-E78F-9E7B6BB06D07}"/>
              </a:ext>
            </a:extLst>
          </p:cNvPr>
          <p:cNvSpPr/>
          <p:nvPr/>
        </p:nvSpPr>
        <p:spPr>
          <a:xfrm>
            <a:off x="711997" y="2251168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2" name="TextBox 3">
            <a:extLst>
              <a:ext uri="{FF2B5EF4-FFF2-40B4-BE49-F238E27FC236}">
                <a16:creationId xmlns:a16="http://schemas.microsoft.com/office/drawing/2014/main" id="{34D6289A-0890-3575-8A22-7FEC630AB193}"/>
              </a:ext>
            </a:extLst>
          </p:cNvPr>
          <p:cNvSpPr txBox="1"/>
          <p:nvPr/>
        </p:nvSpPr>
        <p:spPr>
          <a:xfrm>
            <a:off x="1313543" y="2302499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Calcular economia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AD0062C-415B-8234-5E25-4B6076DE3818}"/>
                  </a:ext>
                </a:extLst>
              </p:cNvPr>
              <p:cNvSpPr txBox="1"/>
              <p:nvPr/>
            </p:nvSpPr>
            <p:spPr>
              <a:xfrm>
                <a:off x="1313543" y="2563171"/>
                <a:ext cx="9910166" cy="3281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𝒔</m:t>
                          </m:r>
                        </m:e>
                        <m:sub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𝒊𝒋</m:t>
                          </m:r>
                        </m:sub>
                      </m:sSub>
                      <m:r>
                        <a:rPr lang="pt-BR" sz="14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</m:e>
                        <m:sub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  <m:r>
                        <a:rPr lang="pt-BR" sz="14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</m:e>
                        <m:sub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pt-BR" sz="14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𝒄</m:t>
                          </m:r>
                        </m:e>
                        <m:sub>
                          <m:r>
                            <a:rPr lang="pt-BR" sz="14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𝒊𝒋</m:t>
                          </m:r>
                        </m:sub>
                      </m:sSub>
                    </m:oMath>
                  </m:oMathPara>
                </a14:m>
                <a:endParaRPr 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AD0062C-415B-8234-5E25-4B6076DE3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3543" y="2563171"/>
                <a:ext cx="9910166" cy="328167"/>
              </a:xfrm>
              <a:prstGeom prst="rect">
                <a:avLst/>
              </a:prstGeom>
              <a:blipFill>
                <a:blip r:embed="rId5"/>
                <a:stretch>
                  <a:fillRect b="-1852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Oval 23">
            <a:extLst>
              <a:ext uri="{FF2B5EF4-FFF2-40B4-BE49-F238E27FC236}">
                <a16:creationId xmlns:a16="http://schemas.microsoft.com/office/drawing/2014/main" id="{9DC7F72A-E00A-4813-DBCF-582268A0507A}"/>
              </a:ext>
            </a:extLst>
          </p:cNvPr>
          <p:cNvSpPr/>
          <p:nvPr/>
        </p:nvSpPr>
        <p:spPr>
          <a:xfrm>
            <a:off x="711997" y="3062580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7E712BD4-7B58-4019-5C4F-5A77CC87D71A}"/>
              </a:ext>
            </a:extLst>
          </p:cNvPr>
          <p:cNvSpPr txBox="1"/>
          <p:nvPr/>
        </p:nvSpPr>
        <p:spPr>
          <a:xfrm>
            <a:off x="1313543" y="3113911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Ordenar arcos por ordem decrescente de economi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604D18A-4768-529C-EF4D-788C1237D315}"/>
              </a:ext>
            </a:extLst>
          </p:cNvPr>
          <p:cNvSpPr txBox="1"/>
          <p:nvPr/>
        </p:nvSpPr>
        <p:spPr>
          <a:xfrm>
            <a:off x="1313542" y="4403582"/>
            <a:ext cx="991016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ltrar a lista de economias e adicionar o cliente com maior economia que respeita as seguintes restriçõ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ão adjacentes a ro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ssuem uma demanda que não estoura a capacidade da rota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5B2D294-3576-4755-4205-7A2D4B9C8269}"/>
              </a:ext>
            </a:extLst>
          </p:cNvPr>
          <p:cNvSpPr/>
          <p:nvPr/>
        </p:nvSpPr>
        <p:spPr>
          <a:xfrm>
            <a:off x="711997" y="5251735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600" b="1" dirty="0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TextBox 3">
            <a:extLst>
              <a:ext uri="{FF2B5EF4-FFF2-40B4-BE49-F238E27FC236}">
                <a16:creationId xmlns:a16="http://schemas.microsoft.com/office/drawing/2014/main" id="{256072E0-05E0-EBBF-6DF3-94A55439B67E}"/>
              </a:ext>
            </a:extLst>
          </p:cNvPr>
          <p:cNvSpPr txBox="1"/>
          <p:nvPr/>
        </p:nvSpPr>
        <p:spPr>
          <a:xfrm>
            <a:off x="1313543" y="5303066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Retornar ao passo 3 até que todos clientes tenham sido atendido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48381EF-3C2D-4D16-6C42-2CCFE485DC2A}"/>
              </a:ext>
            </a:extLst>
          </p:cNvPr>
          <p:cNvSpPr/>
          <p:nvPr/>
        </p:nvSpPr>
        <p:spPr>
          <a:xfrm>
            <a:off x="711997" y="3986711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3" name="TextBox 3">
            <a:extLst>
              <a:ext uri="{FF2B5EF4-FFF2-40B4-BE49-F238E27FC236}">
                <a16:creationId xmlns:a16="http://schemas.microsoft.com/office/drawing/2014/main" id="{AC2EE7AA-6740-D76C-C253-02F1B8EBEAD9}"/>
              </a:ext>
            </a:extLst>
          </p:cNvPr>
          <p:cNvSpPr txBox="1"/>
          <p:nvPr/>
        </p:nvSpPr>
        <p:spPr>
          <a:xfrm>
            <a:off x="1313543" y="4038042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Adicionar clientes adjacentes até esgotar a capacidade da rota iniciada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07950CB-2D23-EFE5-64A7-AA387D167EEA}"/>
              </a:ext>
            </a:extLst>
          </p:cNvPr>
          <p:cNvSpPr/>
          <p:nvPr/>
        </p:nvSpPr>
        <p:spPr>
          <a:xfrm>
            <a:off x="711996" y="3547659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5" name="TextBox 3">
            <a:extLst>
              <a:ext uri="{FF2B5EF4-FFF2-40B4-BE49-F238E27FC236}">
                <a16:creationId xmlns:a16="http://schemas.microsoft.com/office/drawing/2014/main" id="{88404CE8-F451-F4B7-1142-6C1B29FFD598}"/>
              </a:ext>
            </a:extLst>
          </p:cNvPr>
          <p:cNvSpPr txBox="1"/>
          <p:nvPr/>
        </p:nvSpPr>
        <p:spPr>
          <a:xfrm>
            <a:off x="1313542" y="3598990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Selecionar arco com maior economia (não alocado) e iniciar a rota</a:t>
            </a:r>
          </a:p>
        </p:txBody>
      </p:sp>
    </p:spTree>
    <p:extLst>
      <p:ext uri="{BB962C8B-B14F-4D97-AF65-F5344CB8AC3E}">
        <p14:creationId xmlns:p14="http://schemas.microsoft.com/office/powerpoint/2010/main" val="2281992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map, diagram, line, screenshot&#10;&#10;Description automatically generated">
            <a:extLst>
              <a:ext uri="{FF2B5EF4-FFF2-40B4-BE49-F238E27FC236}">
                <a16:creationId xmlns:a16="http://schemas.microsoft.com/office/drawing/2014/main" id="{0AC51839-BDFE-E99E-E2E8-9EBEED3A5E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988" y="1103086"/>
            <a:ext cx="5572024" cy="5572024"/>
          </a:xfrm>
          <a:prstGeom prst="rect">
            <a:avLst/>
          </a:prstGeom>
        </p:spPr>
      </p:pic>
      <p:sp>
        <p:nvSpPr>
          <p:cNvPr id="10" name="Título 1">
            <a:extLst>
              <a:ext uri="{FF2B5EF4-FFF2-40B4-BE49-F238E27FC236}">
                <a16:creationId xmlns:a16="http://schemas.microsoft.com/office/drawing/2014/main" id="{8DC04FCA-0665-6EE7-7515-23C0451DC54A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Solução gerada</a:t>
            </a:r>
          </a:p>
          <a:p>
            <a:r>
              <a:rPr lang="pt-BR" sz="1600" b="1" dirty="0">
                <a:latin typeface="+mn-lt"/>
              </a:rPr>
              <a:t>Distância total: 982.5 km</a:t>
            </a:r>
            <a:endParaRPr lang="pt-BR" sz="1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6192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5212C0-CFA6-451B-BD8C-6598C3F9A5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5212C0-CFA6-451B-BD8C-6598C3F9A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ítulo 1">
            <a:extLst>
              <a:ext uri="{FF2B5EF4-FFF2-40B4-BE49-F238E27FC236}">
                <a16:creationId xmlns:a16="http://schemas.microsoft.com/office/drawing/2014/main" id="{30CBAFE7-ACBB-41B7-A67B-99A6179E8CAD}"/>
              </a:ext>
            </a:extLst>
          </p:cNvPr>
          <p:cNvSpPr txBox="1">
            <a:spLocks/>
          </p:cNvSpPr>
          <p:nvPr/>
        </p:nvSpPr>
        <p:spPr>
          <a:xfrm>
            <a:off x="390071" y="394154"/>
            <a:ext cx="11078029" cy="70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b="1" dirty="0">
                <a:latin typeface="+mn-lt"/>
              </a:rPr>
              <a:t>Descrição do algoritmo com múltiplos recomeços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45264F71-4660-BFD2-4E87-224C7AC846DD}"/>
              </a:ext>
            </a:extLst>
          </p:cNvPr>
          <p:cNvSpPr txBox="1">
            <a:spLocks/>
          </p:cNvSpPr>
          <p:nvPr/>
        </p:nvSpPr>
        <p:spPr>
          <a:xfrm>
            <a:off x="-826322" y="2439522"/>
            <a:ext cx="11078029" cy="70893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800" b="1" dirty="0">
              <a:latin typeface="+mn-lt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3D13FE1-78AC-3397-5569-F6A965C5365F}"/>
              </a:ext>
            </a:extLst>
          </p:cNvPr>
          <p:cNvSpPr/>
          <p:nvPr/>
        </p:nvSpPr>
        <p:spPr>
          <a:xfrm>
            <a:off x="539371" y="1428791"/>
            <a:ext cx="324260" cy="32426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1501DD11-46D0-72CB-4BC3-34CE9A9FBDC1}"/>
              </a:ext>
            </a:extLst>
          </p:cNvPr>
          <p:cNvSpPr txBox="1"/>
          <p:nvPr/>
        </p:nvSpPr>
        <p:spPr>
          <a:xfrm>
            <a:off x="1140917" y="1480122"/>
            <a:ext cx="956491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</a:pPr>
            <a:r>
              <a:rPr lang="pt-BR" sz="1600" b="1" dirty="0">
                <a:solidFill>
                  <a:srgbClr val="000000"/>
                </a:solidFill>
              </a:rPr>
              <a:t>Adequação feita (</a:t>
            </a:r>
            <a:r>
              <a:rPr lang="pt-BR" sz="1600" b="1" dirty="0" err="1">
                <a:solidFill>
                  <a:srgbClr val="000000"/>
                </a:solidFill>
              </a:rPr>
              <a:t>pseudo</a:t>
            </a:r>
            <a:r>
              <a:rPr lang="pt-BR" sz="1600" b="1" dirty="0">
                <a:solidFill>
                  <a:srgbClr val="000000"/>
                </a:solidFill>
              </a:rPr>
              <a:t> código abaixo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1FD76D-A4D0-E090-C308-083A52CC039A}"/>
              </a:ext>
            </a:extLst>
          </p:cNvPr>
          <p:cNvSpPr txBox="1"/>
          <p:nvPr/>
        </p:nvSpPr>
        <p:spPr>
          <a:xfrm>
            <a:off x="1140917" y="1714070"/>
            <a:ext cx="99101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icionar um perturbador no calculo das economias, variando entre 0.5 e 1.5 a cada iteração (1000x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87CF37F-B2FD-A0FC-403C-F5F7A5D781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0917" y="2079798"/>
            <a:ext cx="6031408" cy="393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209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K1AdwMPwAIzlZYbsT6F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O10n2Q4NxlUIfYURv7A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GtB8x7m5osHTcqthjMC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fjlKg7CNz7SrQAbTwOv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7d.NtYu5TMe0WBaJ8Rx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iKafS_AIHATCWAGev9w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RzXJ7Y3T7PtsZp5TBC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oCmYOad18IkhBqvtlG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4YXb4NeGg75umInWUA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sDMp3kKZyuTQqEJHuY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Bb5eC6lnSpY8Gkykrq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3.nk0SlOywtgSP5jhJ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JQoj.fIB6jqX3k0Nn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L21EOXalhl.8OkSh8y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Nnkmk_rwMLripbcqaG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f7nOlg.VzHnN3esHa.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2iaASkqx7fbtTTcZ9r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yyanReP4b7iwwWFw7B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pr.SkJp.2QzT3QpHAt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6MIxGnCQRXF6aGo_26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HBnoXh3.osldfsuFHh2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8yh1WHko1BWABshMtf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jsHtaqnXhDesP.Bpep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Hjn4zwCy9J3lW78Kz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yc.IkqDWT6irJvwPts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HxTUkrKVwa694fK3CR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LV9sKFhb8KLTBIIsC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teJTFb_QN4wsGjzi.g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BBrgeycP51mqoaPfT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ltYamDmngNG71JKZeR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yoSyHA4yZdDbllXPI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IgRyAhEpWSfszg.ZKw6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XjQ0aZD9wO8UrTrzM5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XbHQAQ_l7Rj_3dX.i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JURO9Bqrivqdk.hd9G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quhh3lg7nslUEeTN0a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4vpi6al5fPggKp7Qtd1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hdC4bYE7CBTQcOyMuB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RFuiFrQKswsCwJLN8b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XFzcQkDOax8OzCfEc6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3rFiLdO1qR8EsWPbpx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3pWWWi0w2UkYmtyUma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fo7G5B1Tl5iPIVl4Q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JA79rDJpLMQ821Y6aE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bRZvOajySSK1vI4xIN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RPq2mahKKwlg5NVtT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Sxef24skpVeZfIBfQc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xiHBYvGl9WxrNMQwb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GESGtn7yi8qy3x08Wt2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_E_ac0k5pnVAkuYTg2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_6L7DSSjPU1HJKxdyF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keab5j6Lcf.cWgK4rd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4PZtvPIOKEOrOWdqav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EmsfwDRRQtUiLgFha2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Xy0YQNuA22Gz6nrbr6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8k0opkhQSHh5zUv0o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suo07Ny_d3gCCgMYkfb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AyLQi9yptbPmcZEMjA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UR64oxYIWMHKRVvzzW6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aLFsDb59LSZdvI9q5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_DP53xRXQxGvI3IN7P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exe4qKur66WDWa4Vgh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JS182LeYzqMUabn0_d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LbNE83qEmQWZ4t44_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eqv316VLczZvjCCTKP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ijXdbkD7lMZgVeKJEG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wTPdRGJDSh.TtC6TR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lPIepgo0EX4_vhtC6w0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9vNHdsmpAyJRr30TGJ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LO0cT8UTFI3Pf2_7_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wWW9z5NIxevofkacN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0lowlDAiT2r1ld3Zrl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YudSFa4356FeELkkrh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oxX6o63Ip1b1S35xn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EavhJSA9xWmU4ciKdv_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H8AqXLCrGMmFtQ5Uuz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QOj8NnyR4KBmI1cJ73X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OyAjzjJveiXdDnAwHT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_LKh0rTePhJi0qxV2l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uTqq9ZgA0GqIAwHsymU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d3gfvyi5JLavmLfLJZ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.siCQaY9cOvOfQyqJM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bs.EDEuxVyquem1oH1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m_JZX.mQLv8ePtPYVo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66Z8hZuIxGIA83X9C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bSALDDQZY6oVWfniJV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f.P_2Y89f94V8AZEVk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Y0wiv5FoWGJf_XB1Fb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IkdaDFnSerrd_AIT09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hSI5TzLfJOn.PkwZEiP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eHbuu3MiKv8G7z7GfF1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xvhYruMTWNuQFPA_j7R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gkZ2DT0_IeOGCI1H0r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t4FLOOEfdBWErKaK3FR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YsWFxU.mHgMNhjWUFC2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FXKe6FcwbITAJpBj.Q1Q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6</TotalTime>
  <Words>903</Words>
  <Application>Microsoft Office PowerPoint</Application>
  <PresentationFormat>Widescreen</PresentationFormat>
  <Paragraphs>211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-apple-system</vt:lpstr>
      <vt:lpstr>Arial</vt:lpstr>
      <vt:lpstr>Calibri</vt:lpstr>
      <vt:lpstr>Calibri Light</vt:lpstr>
      <vt:lpstr>Cambria Math</vt:lpstr>
      <vt:lpstr>Tema do Office</vt:lpstr>
      <vt:lpstr>think-cell Slide</vt:lpstr>
      <vt:lpstr>ATIVIDADE 01</vt:lpstr>
      <vt:lpstr>PowerPoint Presentation</vt:lpstr>
      <vt:lpstr>PowerPoint Presentation</vt:lpstr>
      <vt:lpstr>Comparativo de permutações avaliadas utilizando as estratégias</vt:lpstr>
      <vt:lpstr>Comparativo de tempos de execuçã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IVIDADE 01</dc:title>
  <dc:creator>Allan Gomes</dc:creator>
  <cp:lastModifiedBy>Moraes, Guilherme</cp:lastModifiedBy>
  <cp:revision>19</cp:revision>
  <dcterms:created xsi:type="dcterms:W3CDTF">2023-07-04T01:50:32Z</dcterms:created>
  <dcterms:modified xsi:type="dcterms:W3CDTF">2023-07-05T02:4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3-07-04T23:15:33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d9103829-e620-4186-bb93-a9a5aa0ea166</vt:lpwstr>
  </property>
  <property fmtid="{D5CDD505-2E9C-101B-9397-08002B2CF9AE}" pid="8" name="MSIP_Label_0e815a84-bb14-486b-9367-c1af54c95fa4_ContentBits">
    <vt:lpwstr>0</vt:lpwstr>
  </property>
</Properties>
</file>